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5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0" r:id="rId1"/>
    <p:sldMasterId id="2147483683" r:id="rId2"/>
  </p:sldMasterIdLst>
  <p:notesMasterIdLst>
    <p:notesMasterId r:id="rId4"/>
  </p:notesMasterIdLst>
  <p:sldIdLst>
    <p:sldId id="2147473406" r:id="rId3"/>
  </p:sldIdLst>
  <p:sldSz cx="12192000" cy="6858000"/>
  <p:notesSz cx="6858000" cy="91440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ppendix" id="{2F45EBE5-8A77-4DB1-8035-3FAC39511043}">
          <p14:sldIdLst>
            <p14:sldId id="214747340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AFD"/>
    <a:srgbClr val="F2F2F2"/>
    <a:srgbClr val="21C5FF"/>
    <a:srgbClr val="0085B4"/>
    <a:srgbClr val="D1D1D1"/>
    <a:srgbClr val="FFFFFF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7375" autoAdjust="0"/>
  </p:normalViewPr>
  <p:slideViewPr>
    <p:cSldViewPr snapToGrid="0">
      <p:cViewPr>
        <p:scale>
          <a:sx n="60" d="100"/>
          <a:sy n="60" d="100"/>
        </p:scale>
        <p:origin x="884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918F22-94E2-4C0A-86B5-8C61BCACD5D5}" type="datetimeFigureOut">
              <a:rPr lang="de-DE" smtClean="0"/>
              <a:t>04.05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96520E-5557-484C-BFA6-B6DABB53478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34549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4F96BDF-9362-D94E-B1D2-CFAF3AD867E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517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 i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4800968-F261-E84D-92F7-07E113E702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78517" y="3429000"/>
            <a:ext cx="10418233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0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79FFD3-C392-464C-B50B-45DFA0B91D35}"/>
              </a:ext>
            </a:extLst>
          </p:cNvPr>
          <p:cNvSpPr txBox="1"/>
          <p:nvPr userDrawn="1"/>
        </p:nvSpPr>
        <p:spPr>
          <a:xfrm>
            <a:off x="9641840" y="162560"/>
            <a:ext cx="65" cy="184666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endParaRPr lang="en-US" sz="120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BCED6D00-51E8-1740-BAC0-FB4EF8D42B48}"/>
              </a:ext>
            </a:extLst>
          </p:cNvPr>
          <p:cNvSpPr>
            <a:spLocks/>
          </p:cNvSpPr>
          <p:nvPr userDrawn="1"/>
        </p:nvSpPr>
        <p:spPr bwMode="auto">
          <a:xfrm>
            <a:off x="501648" y="6444147"/>
            <a:ext cx="322524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800" b="0" i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Frutiger Next Pro Light" charset="0"/>
              </a:rPr>
              <a:t>‹#›</a:t>
            </a:fld>
            <a:r>
              <a:rPr lang="en-US" sz="8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Frutiger Next Pro Light" charset="0"/>
              </a:rPr>
              <a:t>  |  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284504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97460AE7-C41F-B742-A869-5900E2154F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900" y="1020129"/>
            <a:ext cx="11252200" cy="3921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117C93D-60BC-C04D-874C-030B601BD59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565723"/>
            <a:ext cx="11252200" cy="4518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681207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2504BA-CD4B-4BDF-AB11-5193213BBC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425062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Agenda 1">
    <p:bg bwMode="gray">
      <p:bgPr>
        <a:solidFill>
          <a:srgbClr val="FFFFFF">
            <a:alpha val="71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667CF09-9B0E-CC47-BB92-7C878843F02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1280162" y="1930507"/>
            <a:ext cx="1296786" cy="5208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95000"/>
              </a:lnSpc>
              <a:spcAft>
                <a:spcPts val="0"/>
              </a:spcAft>
              <a:buNone/>
              <a:defRPr sz="2000" b="1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E370771-DF4A-42AF-36F9-110A3DE0A0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26704" y="1930525"/>
            <a:ext cx="8295726" cy="520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None/>
              <a:defRPr lang="en-US" sz="2000" kern="1200" smtClean="0">
                <a:solidFill>
                  <a:schemeClr val="tx1"/>
                </a:solidFill>
                <a:latin typeface="Open Sans" panose="020B0606030504020204" pitchFamily="34" charset="0"/>
                <a:ea typeface="Chronicle Display Black" charset="0"/>
                <a:cs typeface="Chronicle Display Black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Aft>
                <a:spcPts val="300"/>
              </a:spcAft>
              <a:buNone/>
              <a:defRPr lang="en-US" sz="1200" kern="1200" spc="-50" dirty="0" smtClean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Open San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38B34F-B99E-0D66-9102-6711578EBB39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 bwMode="gray">
          <a:xfrm>
            <a:off x="1280161" y="2750892"/>
            <a:ext cx="1296786" cy="5208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95000"/>
              </a:lnSpc>
              <a:spcAft>
                <a:spcPts val="0"/>
              </a:spcAft>
              <a:buNone/>
              <a:defRPr sz="2000" b="1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251561F-C540-43E0-CEB2-98592FDF70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26703" y="2750910"/>
            <a:ext cx="8295726" cy="520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None/>
              <a:defRPr lang="en-US" sz="2000" kern="1200" smtClean="0">
                <a:solidFill>
                  <a:schemeClr val="tx1"/>
                </a:solidFill>
                <a:latin typeface="Open Sans" panose="020B0606030504020204" pitchFamily="34" charset="0"/>
                <a:ea typeface="Chronicle Display Black" charset="0"/>
                <a:cs typeface="Chronicle Display Black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Aft>
                <a:spcPts val="300"/>
              </a:spcAft>
              <a:buNone/>
              <a:defRPr lang="en-US" sz="1200" kern="1200" spc="-50" dirty="0" smtClean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Open San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4AC3C5B-DFF2-42FC-D8C7-723AD47D14A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 bwMode="gray">
          <a:xfrm>
            <a:off x="1280161" y="3571277"/>
            <a:ext cx="1296786" cy="5208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95000"/>
              </a:lnSpc>
              <a:spcAft>
                <a:spcPts val="0"/>
              </a:spcAft>
              <a:buNone/>
              <a:defRPr sz="2000" b="1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831743C-9D27-D384-9E59-53F30B0252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26703" y="3571295"/>
            <a:ext cx="8295726" cy="520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None/>
              <a:defRPr lang="en-US" sz="2000" kern="1200" smtClean="0">
                <a:solidFill>
                  <a:schemeClr val="tx1"/>
                </a:solidFill>
                <a:latin typeface="Open Sans" panose="020B0606030504020204" pitchFamily="34" charset="0"/>
                <a:ea typeface="Chronicle Display Black" charset="0"/>
                <a:cs typeface="Chronicle Display Black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Aft>
                <a:spcPts val="300"/>
              </a:spcAft>
              <a:buNone/>
              <a:defRPr lang="en-US" sz="1200" kern="1200" spc="-50" dirty="0" smtClean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Open San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55EB34D-3D92-1C41-A661-6C96351BD9BC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 bwMode="gray">
          <a:xfrm>
            <a:off x="1280161" y="4391662"/>
            <a:ext cx="1296786" cy="5208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95000"/>
              </a:lnSpc>
              <a:spcAft>
                <a:spcPts val="0"/>
              </a:spcAft>
              <a:buNone/>
              <a:defRPr sz="2000" b="1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64ED5164-A1FB-E331-C660-C12E57FB12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26703" y="4391680"/>
            <a:ext cx="8295726" cy="520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None/>
              <a:defRPr lang="en-US" sz="2000" kern="1200" smtClean="0">
                <a:solidFill>
                  <a:schemeClr val="tx1"/>
                </a:solidFill>
                <a:latin typeface="Open Sans" panose="020B0606030504020204" pitchFamily="34" charset="0"/>
                <a:ea typeface="Chronicle Display Black" charset="0"/>
                <a:cs typeface="Chronicle Display Black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Aft>
                <a:spcPts val="300"/>
              </a:spcAft>
              <a:buNone/>
              <a:defRPr lang="en-US" sz="1200" kern="1200" spc="-50" dirty="0" smtClean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Open San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9059AEC-893F-1526-2CBC-7C1A9EB3FC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 bwMode="gray">
          <a:xfrm>
            <a:off x="1280161" y="5212048"/>
            <a:ext cx="1296786" cy="5208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95000"/>
              </a:lnSpc>
              <a:spcAft>
                <a:spcPts val="0"/>
              </a:spcAft>
              <a:buNone/>
              <a:defRPr sz="2000" b="1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A9EC61C-5A5A-947C-625F-9B2AAF567B3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26703" y="5212066"/>
            <a:ext cx="8295726" cy="520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300"/>
              </a:spcAft>
              <a:buFont typeface="Arial" panose="020B0604020202020204" pitchFamily="34" charset="0"/>
              <a:buNone/>
              <a:defRPr lang="en-US" sz="2000" kern="1200" smtClean="0">
                <a:solidFill>
                  <a:schemeClr val="tx1"/>
                </a:solidFill>
                <a:latin typeface="Open Sans" panose="020B0606030504020204" pitchFamily="34" charset="0"/>
                <a:ea typeface="Chronicle Display Black" charset="0"/>
                <a:cs typeface="Chronicle Display Black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Aft>
                <a:spcPts val="300"/>
              </a:spcAft>
              <a:buNone/>
              <a:defRPr lang="en-US" sz="1200" kern="1200" spc="-50" dirty="0" smtClean="0">
                <a:solidFill>
                  <a:schemeClr val="tx1"/>
                </a:solidFill>
                <a:latin typeface="Open Sans" panose="020B0606030504020204" pitchFamily="34" charset="0"/>
                <a:ea typeface="+mn-ea"/>
                <a:cs typeface="Open San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AE82A811-2A02-CF95-9B77-2A7AAAE11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753202"/>
            <a:ext cx="11252200" cy="692151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9654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D57C3-5E5B-9644-856D-35EC8E918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7"/>
            <a:ext cx="10835409" cy="3793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9DAD5AD-ED9E-2A8D-64B1-E92E8C627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1650" y="2184090"/>
            <a:ext cx="4483517" cy="2064059"/>
          </a:xfrm>
        </p:spPr>
        <p:txBody>
          <a:bodyPr/>
          <a:lstStyle>
            <a:lvl1pPr marL="12700" algn="l" defTabSz="914400" rtl="0" eaLnBrk="1" latinLnBrk="0" hangingPunct="1">
              <a:lnSpc>
                <a:spcPct val="85000"/>
              </a:lnSpc>
              <a:defRPr lang="en-US" sz="18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1450" indent="-171450">
              <a:buFont typeface="Arial" panose="020B0604020202020204" pitchFamily="34" charset="0"/>
              <a:buChar char="•"/>
              <a:defRPr lang="en-US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charset="0"/>
                <a:cs typeface="Open Sans" charset="0"/>
              </a:defRPr>
            </a:lvl2pPr>
            <a:lvl3pPr marL="152400" indent="0">
              <a:buNone/>
              <a:defRPr/>
            </a:lvl3pPr>
            <a:lvl4pPr marL="304800" indent="0">
              <a:buNone/>
              <a:defRPr/>
            </a:lvl4pPr>
            <a:lvl5pPr marL="4572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91F3CF85-C40E-63E3-1736-06265DEF446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84900" y="2184090"/>
            <a:ext cx="4483517" cy="2064059"/>
          </a:xfrm>
        </p:spPr>
        <p:txBody>
          <a:bodyPr/>
          <a:lstStyle>
            <a:lvl1pPr marL="12700" algn="l" defTabSz="914400" rtl="0" eaLnBrk="1" latinLnBrk="0" hangingPunct="1">
              <a:lnSpc>
                <a:spcPct val="85000"/>
              </a:lnSpc>
              <a:defRPr lang="en-US" sz="18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1450" indent="-171450">
              <a:buFont typeface="Arial" panose="020B0604020202020204" pitchFamily="34" charset="0"/>
              <a:buChar char="•"/>
              <a:defRPr lang="en-US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charset="0"/>
                <a:cs typeface="Open Sans" charset="0"/>
              </a:defRPr>
            </a:lvl2pPr>
            <a:lvl3pPr marL="152400" indent="0">
              <a:buNone/>
              <a:defRPr/>
            </a:lvl3pPr>
            <a:lvl4pPr marL="304800" indent="0">
              <a:buNone/>
              <a:defRPr/>
            </a:lvl4pPr>
            <a:lvl5pPr marL="4572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E7B136B-27B7-5A10-1BDE-8BEF74C60EBA}"/>
              </a:ext>
            </a:extLst>
          </p:cNvPr>
          <p:cNvCxnSpPr>
            <a:cxnSpLocks/>
          </p:cNvCxnSpPr>
          <p:nvPr userDrawn="1"/>
        </p:nvCxnSpPr>
        <p:spPr>
          <a:xfrm>
            <a:off x="6184900" y="1956030"/>
            <a:ext cx="4882896" cy="0"/>
          </a:xfrm>
          <a:prstGeom prst="line">
            <a:avLst/>
          </a:prstGeom>
          <a:noFill/>
          <a:ln w="34925" cap="rnd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1097673-2C1D-5A0A-0D54-C5E62BEBCF01}"/>
              </a:ext>
            </a:extLst>
          </p:cNvPr>
          <p:cNvCxnSpPr>
            <a:cxnSpLocks/>
          </p:cNvCxnSpPr>
          <p:nvPr userDrawn="1"/>
        </p:nvCxnSpPr>
        <p:spPr>
          <a:xfrm>
            <a:off x="501650" y="1956030"/>
            <a:ext cx="4883150" cy="0"/>
          </a:xfrm>
          <a:prstGeom prst="line">
            <a:avLst/>
          </a:prstGeom>
          <a:noFill/>
          <a:ln w="34925" cap="rnd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C335815-1E26-87F3-108F-C085299168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856319"/>
            <a:ext cx="7432862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400" b="1" i="0" kern="12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7739140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D57C3-5E5B-9644-856D-35EC8E918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7"/>
            <a:ext cx="10835409" cy="3793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9DAD5AD-ED9E-2A8D-64B1-E92E8C627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1651" y="1841190"/>
            <a:ext cx="2203450" cy="2064059"/>
          </a:xfrm>
        </p:spPr>
        <p:txBody>
          <a:bodyPr/>
          <a:lstStyle>
            <a:lvl1pPr marL="12700" algn="l" defTabSz="914400" rtl="0" eaLnBrk="1" latinLnBrk="0" hangingPunct="1">
              <a:lnSpc>
                <a:spcPct val="85000"/>
              </a:lnSpc>
              <a:spcAft>
                <a:spcPts val="2400"/>
              </a:spcAft>
              <a:defRPr lang="en-US" sz="18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1450" indent="-171450"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charset="0"/>
                <a:cs typeface="Open Sans" charset="0"/>
              </a:defRPr>
            </a:lvl2pPr>
            <a:lvl3pPr marL="152400" indent="0">
              <a:buNone/>
              <a:defRPr/>
            </a:lvl3pPr>
            <a:lvl4pPr marL="304800" indent="0">
              <a:buNone/>
              <a:defRPr/>
            </a:lvl4pPr>
            <a:lvl5pPr marL="4572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0509DBBC-C65C-2A17-5621-7EE4E97FDE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96734" y="1841190"/>
            <a:ext cx="2203450" cy="2064059"/>
          </a:xfrm>
        </p:spPr>
        <p:txBody>
          <a:bodyPr/>
          <a:lstStyle>
            <a:lvl1pPr marL="12700" algn="l" defTabSz="914400" rtl="0" eaLnBrk="1" latinLnBrk="0" hangingPunct="1">
              <a:lnSpc>
                <a:spcPct val="85000"/>
              </a:lnSpc>
              <a:defRPr kumimoji="0" lang="en-US" sz="1800" b="0" i="0" u="none" strike="noStrike" kern="1200" cap="none" spc="-1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1450" indent="-171450"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charset="0"/>
                <a:cs typeface="Open Sans" charset="0"/>
              </a:defRPr>
            </a:lvl2pPr>
            <a:lvl3pPr marL="152400" indent="0">
              <a:buNone/>
              <a:defRPr/>
            </a:lvl3pPr>
            <a:lvl4pPr marL="304800" indent="0">
              <a:buNone/>
              <a:defRPr/>
            </a:lvl4pPr>
            <a:lvl5pPr marL="457200" indent="0">
              <a:buNone/>
              <a:defRPr/>
            </a:lvl5pPr>
          </a:lstStyle>
          <a:p>
            <a:pPr marL="12700" lv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2400"/>
              </a:spcAft>
              <a:buSzPct val="100000"/>
              <a:buFontTx/>
              <a:buNone/>
            </a:pPr>
            <a:r>
              <a:rPr lang="en-US"/>
              <a:t>Click to edit Master text styles</a:t>
            </a:r>
          </a:p>
          <a:p>
            <a:pPr marL="171450" lvl="1" indent="-17145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750385B7-0C90-E9DB-0CE8-D437664378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91817" y="1841190"/>
            <a:ext cx="2203450" cy="2064059"/>
          </a:xfrm>
        </p:spPr>
        <p:txBody>
          <a:bodyPr/>
          <a:lstStyle>
            <a:lvl1pPr marL="12700" algn="l" defTabSz="914400" rtl="0" eaLnBrk="1" latinLnBrk="0" hangingPunct="1">
              <a:lnSpc>
                <a:spcPct val="85000"/>
              </a:lnSpc>
              <a:defRPr kumimoji="0" lang="en-US" sz="1800" b="0" i="0" u="none" strike="noStrike" kern="1200" cap="none" spc="-1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1450" indent="-171450"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charset="0"/>
                <a:cs typeface="Open Sans" charset="0"/>
              </a:defRPr>
            </a:lvl2pPr>
            <a:lvl3pPr marL="152400" indent="0">
              <a:buNone/>
              <a:defRPr/>
            </a:lvl3pPr>
            <a:lvl4pPr marL="304800" indent="0">
              <a:buNone/>
              <a:defRPr/>
            </a:lvl4pPr>
            <a:lvl5pPr marL="457200" indent="0">
              <a:buNone/>
              <a:defRPr/>
            </a:lvl5pPr>
          </a:lstStyle>
          <a:p>
            <a:pPr marL="12700" lv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2400"/>
              </a:spcAft>
              <a:buSzPct val="100000"/>
              <a:buFontTx/>
              <a:buNone/>
            </a:pPr>
            <a:r>
              <a:rPr lang="en-US"/>
              <a:t>Click to edit Master text styles</a:t>
            </a:r>
          </a:p>
          <a:p>
            <a:pPr marL="171450" lvl="1" indent="-17145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02565D8-E9EC-6960-FB70-26DC414D3D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486899" y="1841190"/>
            <a:ext cx="2203450" cy="2064059"/>
          </a:xfrm>
        </p:spPr>
        <p:txBody>
          <a:bodyPr/>
          <a:lstStyle>
            <a:lvl1pPr marL="12700" algn="l" defTabSz="914400" rtl="0" eaLnBrk="1" latinLnBrk="0" hangingPunct="1">
              <a:lnSpc>
                <a:spcPct val="85000"/>
              </a:lnSpc>
              <a:defRPr kumimoji="0" lang="en-US" sz="1800" b="0" i="0" u="none" strike="noStrike" kern="1200" cap="none" spc="-1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1450" indent="-171450"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charset="0"/>
                <a:cs typeface="Open Sans" charset="0"/>
              </a:defRPr>
            </a:lvl2pPr>
            <a:lvl3pPr marL="152400" indent="0">
              <a:buNone/>
              <a:defRPr/>
            </a:lvl3pPr>
            <a:lvl4pPr marL="304800" indent="0">
              <a:buNone/>
              <a:defRPr/>
            </a:lvl4pPr>
            <a:lvl5pPr marL="457200" indent="0">
              <a:buNone/>
              <a:defRPr/>
            </a:lvl5pPr>
          </a:lstStyle>
          <a:p>
            <a:pPr marL="12700" lv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2400"/>
              </a:spcAft>
              <a:buSzPct val="100000"/>
              <a:buFontTx/>
              <a:buNone/>
            </a:pPr>
            <a:r>
              <a:rPr lang="en-US"/>
              <a:t>Click to edit Master text styles</a:t>
            </a:r>
          </a:p>
          <a:p>
            <a:pPr marL="171450" lvl="1" indent="-17145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174BFD5B-17B5-92DF-5496-37178DD3B5ED}"/>
              </a:ext>
            </a:extLst>
          </p:cNvPr>
          <p:cNvSpPr/>
          <p:nvPr userDrawn="1"/>
        </p:nvSpPr>
        <p:spPr>
          <a:xfrm>
            <a:off x="2989331" y="1634400"/>
            <a:ext cx="301653" cy="605692"/>
          </a:xfrm>
          <a:prstGeom prst="chevron">
            <a:avLst>
              <a:gd name="adj" fmla="val 7267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257F8F11-73BF-86EC-273A-F9114EE2370F}"/>
              </a:ext>
            </a:extLst>
          </p:cNvPr>
          <p:cNvSpPr/>
          <p:nvPr userDrawn="1"/>
        </p:nvSpPr>
        <p:spPr>
          <a:xfrm>
            <a:off x="5950753" y="1634401"/>
            <a:ext cx="301653" cy="605692"/>
          </a:xfrm>
          <a:prstGeom prst="chevron">
            <a:avLst>
              <a:gd name="adj" fmla="val 7267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Chevron 10">
            <a:extLst>
              <a:ext uri="{FF2B5EF4-FFF2-40B4-BE49-F238E27FC236}">
                <a16:creationId xmlns:a16="http://schemas.microsoft.com/office/drawing/2014/main" id="{0198899E-1B66-23BE-F1DB-C4CD0CA2D872}"/>
              </a:ext>
            </a:extLst>
          </p:cNvPr>
          <p:cNvSpPr/>
          <p:nvPr userDrawn="1"/>
        </p:nvSpPr>
        <p:spPr>
          <a:xfrm>
            <a:off x="8933932" y="1634400"/>
            <a:ext cx="301653" cy="605692"/>
          </a:xfrm>
          <a:prstGeom prst="chevron">
            <a:avLst>
              <a:gd name="adj" fmla="val 7267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296AFEF-FCC9-E314-6523-63C8CA887F0E}"/>
              </a:ext>
            </a:extLst>
          </p:cNvPr>
          <p:cNvCxnSpPr/>
          <p:nvPr userDrawn="1"/>
        </p:nvCxnSpPr>
        <p:spPr>
          <a:xfrm flipV="1">
            <a:off x="3110091" y="2499396"/>
            <a:ext cx="0" cy="2514785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  <a:prstDash val="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3B35E62-A231-1565-89D1-9C420A89120A}"/>
              </a:ext>
            </a:extLst>
          </p:cNvPr>
          <p:cNvCxnSpPr/>
          <p:nvPr userDrawn="1"/>
        </p:nvCxnSpPr>
        <p:spPr>
          <a:xfrm flipV="1">
            <a:off x="6063257" y="2499396"/>
            <a:ext cx="0" cy="2514785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  <a:prstDash val="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79DB366-4DD3-E767-F87D-FB4FE0287622}"/>
              </a:ext>
            </a:extLst>
          </p:cNvPr>
          <p:cNvCxnSpPr/>
          <p:nvPr userDrawn="1"/>
        </p:nvCxnSpPr>
        <p:spPr>
          <a:xfrm flipV="1">
            <a:off x="9095666" y="2499396"/>
            <a:ext cx="0" cy="2514785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  <a:prstDash val="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1DD259B7-C703-155E-A73C-27898D307B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856319"/>
            <a:ext cx="7432862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400" b="1" i="0" kern="12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3706088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D57C3-5E5B-9644-856D-35EC8E918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402587"/>
            <a:ext cx="8242300" cy="3793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D612D53-F5BE-D7E7-3F8E-B0253144D8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856319"/>
            <a:ext cx="7432862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400" b="1" i="0" kern="12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075957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ubhead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>
            <a:extLst>
              <a:ext uri="{FF2B5EF4-FFF2-40B4-BE49-F238E27FC236}">
                <a16:creationId xmlns:a16="http://schemas.microsoft.com/office/drawing/2014/main" id="{FE5D7A52-88F4-3DF5-185E-51002BC90A8A}"/>
              </a:ext>
            </a:extLst>
          </p:cNvPr>
          <p:cNvSpPr>
            <a:spLocks/>
          </p:cNvSpPr>
          <p:nvPr userDrawn="1"/>
        </p:nvSpPr>
        <p:spPr bwMode="auto">
          <a:xfrm>
            <a:off x="501648" y="6444147"/>
            <a:ext cx="2842125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700" b="0" i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Frutiger Next Pro Light" charset="0"/>
              </a:rPr>
              <a:t>‹#›</a:t>
            </a:fld>
            <a:r>
              <a:rPr lang="en-US" sz="700" b="0" i="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Frutiger Next Pro Light" charset="0"/>
              </a:rPr>
              <a:t>  |  Copyright © 2022 Deloitte Development LLC. All rights reserved.</a:t>
            </a:r>
          </a:p>
        </p:txBody>
      </p:sp>
      <p:pic>
        <p:nvPicPr>
          <p:cNvPr id="11" name="Picture 10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82C1F44-2576-64CF-5ADF-B0669DD0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-5714"/>
            <a:ext cx="12192000" cy="318967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1A8734B-E467-4C98-C48C-E011B2DD7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87261"/>
            <a:ext cx="11252200" cy="6921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4FF32EDE-579C-4BCB-A494-FB072A4DB2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856319"/>
            <a:ext cx="7432862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400" b="1" i="0" kern="12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2905001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headline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16722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400" kern="1200" noProof="0" dirty="0">
                <a:solidFill>
                  <a:schemeClr val="accent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16722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i="0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E77400-FDDE-40F3-B4FF-1FD986E076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2451" y="1249363"/>
            <a:ext cx="11166477" cy="46172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52C3992E-BE5C-440F-A3B1-069C489A6D22}"/>
              </a:ext>
            </a:extLst>
          </p:cNvPr>
          <p:cNvSpPr txBox="1"/>
          <p:nvPr userDrawn="1"/>
        </p:nvSpPr>
        <p:spPr>
          <a:xfrm>
            <a:off x="508000" y="651510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="0" i="0" noProof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pyright © 2023 Deloitte Development LLC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10B25F-AD8D-4BDC-AEF5-EDCE170498D4}"/>
              </a:ext>
            </a:extLst>
          </p:cNvPr>
          <p:cNvSpPr/>
          <p:nvPr userDrawn="1"/>
        </p:nvSpPr>
        <p:spPr>
          <a:xfrm>
            <a:off x="11562047" y="6512054"/>
            <a:ext cx="1346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fld id="{C58DF478-B544-4ED8-9ED4-6A2648E2D233}" type="slidenum">
              <a:rPr lang="en-US" sz="900" b="0" i="0" noProof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‹#›</a:t>
            </a:fld>
            <a:endParaRPr lang="en-US" sz="900" b="0" i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6657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6660C-D97A-4199-9DB7-D8D50E3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141454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5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38647158"/>
      </p:ext>
    </p:extLst>
  </p:cSld>
  <p:clrMapOvr>
    <a:masterClrMapping/>
  </p:clrMapOvr>
  <p:transition>
    <p:fade/>
  </p:transition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3380876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894" indent="-342894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959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5FB987-605F-4383-8109-2F07795E9E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8545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5FB987-605F-4383-8109-2F07795E9E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A44779-5ECB-2630-1966-FE71809E119C}"/>
              </a:ext>
            </a:extLst>
          </p:cNvPr>
          <p:cNvSpPr/>
          <p:nvPr userDrawn="1"/>
        </p:nvSpPr>
        <p:spPr>
          <a:xfrm>
            <a:off x="11562047" y="6512054"/>
            <a:ext cx="1346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fld id="{C58DF478-B544-4ED8-9ED4-6A2648E2D233}" type="slidenum">
              <a:rPr lang="en-US" sz="900" b="0" i="0" noProof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‹#›</a:t>
            </a:fld>
            <a:endParaRPr lang="en-US" sz="900" b="0" i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1104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50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40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92533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6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520C2188-19A0-4D2A-A946-2F2031CE5E8F}"/>
              </a:ext>
            </a:extLst>
          </p:cNvPr>
          <p:cNvSpPr txBox="1"/>
          <p:nvPr userDrawn="1"/>
        </p:nvSpPr>
        <p:spPr>
          <a:xfrm>
            <a:off x="508000" y="651510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="0" i="0" noProof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pyright © 2023 Deloitte Development LLC. All rights reserved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9617E28-BCD8-4299-9B93-5867B622D854}"/>
              </a:ext>
            </a:extLst>
          </p:cNvPr>
          <p:cNvSpPr/>
          <p:nvPr userDrawn="1"/>
        </p:nvSpPr>
        <p:spPr>
          <a:xfrm>
            <a:off x="11562047" y="6512054"/>
            <a:ext cx="1346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fld id="{C58DF478-B544-4ED8-9ED4-6A2648E2D233}" type="slidenum">
              <a:rPr lang="en-US" sz="900" b="0" i="0" noProof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‹#›</a:t>
            </a:fld>
            <a:endParaRPr lang="en-US" sz="900" b="0" i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61305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9588449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0385ECA-9427-4139-8268-F5D633123443}"/>
              </a:ext>
            </a:extLst>
          </p:cNvPr>
          <p:cNvSpPr txBox="1"/>
          <p:nvPr userDrawn="1"/>
        </p:nvSpPr>
        <p:spPr>
          <a:xfrm>
            <a:off x="508000" y="651510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="0" i="0" noProof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pyright © 2023 Deloitte Development LLC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C1346E-7C2B-48A3-BA1D-58D6A4AA1BEC}"/>
              </a:ext>
            </a:extLst>
          </p:cNvPr>
          <p:cNvSpPr/>
          <p:nvPr userDrawn="1"/>
        </p:nvSpPr>
        <p:spPr>
          <a:xfrm>
            <a:off x="11562047" y="6512054"/>
            <a:ext cx="1346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fld id="{C58DF478-B544-4ED8-9ED4-6A2648E2D233}" type="slidenum">
              <a:rPr lang="en-US" sz="900" b="0" i="0" noProof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‹#›</a:t>
            </a:fld>
            <a:endParaRPr lang="en-US" sz="900" b="0" i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0579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ransition>
    <p:fade/>
  </p:transition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Open Sans SemiBold" panose="020B0606030504020204" pitchFamily="34" charset="0"/>
          <a:ea typeface="Open Sans SemiBold" panose="020B0606030504020204" pitchFamily="34" charset="0"/>
          <a:cs typeface="Open Sans SemiBold" panose="020B060603050402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554063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320941"/>
            <a:ext cx="11252200" cy="69215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BA87EADF-8BB1-1041-A34B-9ED7CA8B31BB}"/>
              </a:ext>
            </a:extLst>
          </p:cNvPr>
          <p:cNvSpPr>
            <a:spLocks/>
          </p:cNvSpPr>
          <p:nvPr userDrawn="1"/>
        </p:nvSpPr>
        <p:spPr bwMode="auto">
          <a:xfrm>
            <a:off x="501648" y="6444147"/>
            <a:ext cx="2842125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700" b="0" i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Frutiger Next Pro Light" charset="0"/>
              </a:rPr>
              <a:t>‹#›</a:t>
            </a:fld>
            <a:r>
              <a:rPr lang="en-US" sz="700" b="0" i="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Frutiger Next Pro Light" charset="0"/>
              </a:rPr>
              <a:t>  |  Copyright © 2023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804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06" r:id="rId2"/>
    <p:sldLayoutId id="2147483710" r:id="rId3"/>
    <p:sldLayoutId id="2147483711" r:id="rId4"/>
    <p:sldLayoutId id="2147483712" r:id="rId5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kumimoji="0" lang="en-US" sz="2400" b="0" i="0" u="none" strike="noStrike" kern="0" cap="none" spc="-55" normalizeH="0" baseline="0" noProof="0" dirty="0">
          <a:ln>
            <a:noFill/>
          </a:ln>
          <a:solidFill>
            <a:srgbClr val="231F20"/>
          </a:solidFill>
          <a:effectLst/>
          <a:uLnTx/>
          <a:uFillTx/>
          <a:latin typeface="OpenSans-Light"/>
          <a:ea typeface="+mj-ea"/>
          <a:cs typeface="OpenSans-Light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kumimoji="0" lang="en-US" sz="1800" b="1" i="0" u="none" strike="noStrike" kern="0" cap="none" spc="-15" normalizeH="0" baseline="0" noProof="0" dirty="0">
          <a:ln>
            <a:noFill/>
          </a:ln>
          <a:solidFill>
            <a:schemeClr val="tx1">
              <a:lumMod val="75000"/>
              <a:lumOff val="25000"/>
            </a:schemeClr>
          </a:solidFill>
          <a:effectLst/>
          <a:uLnTx/>
          <a:uFillTx/>
          <a:latin typeface="Open Sans"/>
          <a:ea typeface="+mn-ea"/>
          <a:cs typeface="Open San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800" b="0" i="0" kern="1200" dirty="0" smtClean="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800" b="0" i="0" kern="1200" dirty="0" smtClean="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800" b="0" i="0" kern="1200" baseline="0" dirty="0" smtClean="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800" b="0" i="0" kern="1200" baseline="0" dirty="0" smtClean="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56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17" Type="http://schemas.openxmlformats.org/officeDocument/2006/relationships/hyperlink" Target="https://www2.deloitte.com/us/en/pages/about-deloitte/articles/technology-trust-ethics.html" TargetMode="Externa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6.svg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4" Type="http://schemas.openxmlformats.org/officeDocument/2006/relationships/image" Target="../media/image4.emf"/><Relationship Id="rId9" Type="http://schemas.openxmlformats.org/officeDocument/2006/relationships/image" Target="../media/image9.png"/><Relationship Id="rId14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691D9841-F1A9-4DBB-9E76-DAE29436FE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013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1D9841-F1A9-4DBB-9E76-DAE29436FE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57" name="Table 32">
            <a:extLst>
              <a:ext uri="{FF2B5EF4-FFF2-40B4-BE49-F238E27FC236}">
                <a16:creationId xmlns:a16="http://schemas.microsoft.com/office/drawing/2014/main" id="{CFAFD142-4091-4686-B47A-2FD26041C0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399912"/>
              </p:ext>
            </p:extLst>
          </p:nvPr>
        </p:nvGraphicFramePr>
        <p:xfrm>
          <a:off x="64217" y="871341"/>
          <a:ext cx="12064283" cy="50548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5803">
                  <a:extLst>
                    <a:ext uri="{9D8B030D-6E8A-4147-A177-3AD203B41FA5}">
                      <a16:colId xmlns:a16="http://schemas.microsoft.com/office/drawing/2014/main" val="1333111970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val="1744257450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val="2617627524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val="1603328285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val="575124538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val="300793694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val="1405287489"/>
                    </a:ext>
                  </a:extLst>
                </a:gridCol>
              </a:tblGrid>
              <a:tr h="740110">
                <a:tc>
                  <a:txBody>
                    <a:bodyPr/>
                    <a:lstStyle/>
                    <a:p>
                      <a:pPr algn="r"/>
                      <a:endParaRPr lang="en-US" sz="1400" b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Energy, Resources, and Industrials</a:t>
                      </a:r>
                    </a:p>
                  </a:txBody>
                  <a:tcPr marL="45720" marR="45720" marB="54864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Financial Services and Insurance</a:t>
                      </a:r>
                    </a:p>
                  </a:txBody>
                  <a:tcPr marL="45720" marR="45720" marB="54864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Government and Public Services</a:t>
                      </a:r>
                    </a:p>
                  </a:txBody>
                  <a:tcPr marL="45720" marR="45720" marB="54864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Tech, Media, and Telecom</a:t>
                      </a:r>
                    </a:p>
                  </a:txBody>
                  <a:tcPr marL="45720" marR="45720" marB="54864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Life Sciences and Healthcare</a:t>
                      </a:r>
                    </a:p>
                  </a:txBody>
                  <a:tcPr marL="45720" marR="45720" marB="54864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Consumer</a:t>
                      </a:r>
                    </a:p>
                  </a:txBody>
                  <a:tcPr marL="45720" marR="45720" marB="54864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2681243"/>
                  </a:ext>
                </a:extLst>
              </a:tr>
              <a:tr h="705675">
                <a:tc>
                  <a:txBody>
                    <a:bodyPr/>
                    <a:lstStyle/>
                    <a:p>
                      <a:pPr algn="r"/>
                      <a:r>
                        <a:rPr lang="en-US" sz="1200" b="1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Audio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Field Virtual Assistant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Enable field agents to access best practices and repair information using natural language while hands-free</a:t>
                      </a:r>
                    </a:p>
                  </a:txBody>
                  <a:tcPr marL="45720" marR="45720" marT="73152" marB="73152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Retail Banking Transaction Support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Provide human-like support for complex retail transactions including customer applications, questions, negotiations, and more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telligent Agents / Student Office Hour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vide natural language support for government services and on-demand access to information for student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ranslations, Subtitles, and Descriptions</a:t>
                      </a:r>
                      <a:endParaRPr 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ranslate audio into multiple languages (e.g., subtitle generation) and provide descriptions to visual media content 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>
                          <a:solidFill>
                            <a:schemeClr val="tx1"/>
                          </a:solidFill>
                          <a:latin typeface="+mj-lt"/>
                        </a:rPr>
                        <a:t>Automated Follow-Up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j-lt"/>
                        </a:rPr>
                        <a:t>Ingest clinical notes to identify patients that will need follow-up and create audio messages that can be sent to schedule follow-ups and encourage healthy habit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nversational Retail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vide detailed product support and guidance using human-like chatbots in retail stores focused on specific brands and/or categorie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824039"/>
                  </a:ext>
                </a:extLst>
              </a:tr>
              <a:tr h="705675">
                <a:tc>
                  <a:txBody>
                    <a:bodyPr/>
                    <a:lstStyle/>
                    <a:p>
                      <a:pPr algn="r"/>
                      <a:r>
                        <a:rPr lang="en-US" sz="1200" b="1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Cod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No-Code Physics-Based Environments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Allow researchers to create highly computational and accurate physics-based models of weather, fluid dynamics, and environments</a:t>
                      </a:r>
                    </a:p>
                  </a:txBody>
                  <a:tcPr marL="45720" marR="45720" marT="73152" marB="73152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atabase Search</a:t>
                      </a:r>
                    </a:p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uery massive financial transaction databases to find specific items and insights using natural language instead of database languages such as SQL</a:t>
                      </a:r>
                      <a:endParaRPr lang="en-US" sz="700" b="0" i="1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Knowledge Managemen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llow government workers to cluster, search, and filter large amounts of unstructured data from images, video, and text files through natural language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riginal Games Creation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deate and code novel computer and video games and accelerate the game testing proces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linical Trial Data Processing</a:t>
                      </a:r>
                    </a:p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llow researchers to clean up data and generate graphs and insights for clinical trials and approvals processes using natural language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Marketing Speed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Help marketers build websites and external collateral at the speed of natural language to go-to-market faster with new products and service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08257"/>
                  </a:ext>
                </a:extLst>
              </a:tr>
              <a:tr h="705675">
                <a:tc>
                  <a:txBody>
                    <a:bodyPr/>
                    <a:lstStyle/>
                    <a:p>
                      <a:pPr algn="r"/>
                      <a:r>
                        <a:rPr lang="en-US" sz="1200" b="1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Imag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New Product Development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Create detailed schematic drawings of industrial products and parts to aid in new product development and repairs</a:t>
                      </a:r>
                    </a:p>
                  </a:txBody>
                  <a:tcPr marL="45720" marR="45720" marT="73152" marB="73152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Fraud Detection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Generate customer signatures to enhance internal fraud models in areas such as credit card authorization, and summarize potential fraud hotspot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frastructure Mapp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hance infrastructure mapping and planning processes by generating detailed plans and iterating using natural language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miconductor Chip Design</a:t>
                      </a:r>
                    </a:p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terate and enhance designs based on performance parameters and reduce the development life cycle time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>
                          <a:solidFill>
                            <a:schemeClr val="tx1"/>
                          </a:solidFill>
                          <a:latin typeface="+mj-lt"/>
                        </a:rPr>
                        <a:t>Improved Medical Imag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j-lt"/>
                        </a:rPr>
                        <a:t>Generate large sets of synthetic medical images to train imaging algorithms to better identify abnormalities as well as train clinicians to better identify issue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Product Photography and Detail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enerate details and ultra-realistic photographs of new and existing products in different environment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8028685"/>
                  </a:ext>
                </a:extLst>
              </a:tr>
              <a:tr h="705675"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Text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Technical Document Summarization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Extract information from detailed documentation and synthesize field-reports in specific formats</a:t>
                      </a:r>
                    </a:p>
                  </a:txBody>
                  <a:tcPr marL="45720" marR="45720" marT="73152" marB="73152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Customer Due Diligence Reporting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Generate reports on new customers such as KYC processes and summarize them for employees to action and make decisions for customer onboarding 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Intelligent Case Management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Parse complex government case files</a:t>
                      </a:r>
                      <a:b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for actionable details which are then summarized for rapid comprehension and used to generate report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>
                          <a:solidFill>
                            <a:schemeClr val="tx1"/>
                          </a:solidFill>
                          <a:latin typeface="+mj-lt"/>
                        </a:rPr>
                        <a:t>Cybersecurity Threat Detection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j-lt"/>
                        </a:rPr>
                        <a:t>Summarize areas of high-risk, answer questions, and generate executive reports for malware, anomalies, and potential threat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edical History Summary</a:t>
                      </a:r>
                    </a:p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ummarize patient demographics, medical history, allergies, medications, and other relevant details from EHR clinical notes to aid hospital intake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ersonalized Supermarke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reate custom meal plans and shopping lists fine-tuned for each buyer/family specific to the store and what’s available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7931164"/>
                  </a:ext>
                </a:extLst>
              </a:tr>
              <a:tr h="705675">
                <a:tc>
                  <a:txBody>
                    <a:bodyPr/>
                    <a:lstStyle/>
                    <a:p>
                      <a:pPr algn="r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Video</a:t>
                      </a:r>
                    </a:p>
                    <a:p>
                      <a:pPr algn="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(Early Stages)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Event Identification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Absorb live video feeds of the end-to-end production chain and answer specific questions about processes and events</a:t>
                      </a:r>
                    </a:p>
                  </a:txBody>
                  <a:tcPr marL="45720" marR="45720" marT="73152" marB="73152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>
                          <a:solidFill>
                            <a:schemeClr val="tx1"/>
                          </a:solidFill>
                          <a:latin typeface="+mj-lt"/>
                        </a:rPr>
                        <a:t>Claims Footage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>
                          <a:solidFill>
                            <a:schemeClr val="tx1"/>
                          </a:solidFill>
                          <a:latin typeface="+mj-lt"/>
                        </a:rPr>
                        <a:t>Review video footage of claims (e.g., car crashes) to pull out summaries and eventually generate new video of potential crash scenario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Citizen Support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Provide hyper-realistic, life-like personal assistants in places such as the airport, DMV, border patrol and immigration, to support citizen need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irtual Anchor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reate virtual on-air anchors for high-demand events (e.g., live sports) where there are not enough people to support across languages/border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Digital Therap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R/VR content generation for assets required in digital therapy or virtual environment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Commercial Brainstorming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Rapidly brainstorm with generated video and video storyboards for pieces such as television/online commercial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963531"/>
                  </a:ext>
                </a:extLst>
              </a:tr>
              <a:tr h="705675">
                <a:tc>
                  <a:txBody>
                    <a:bodyPr/>
                    <a:lstStyle/>
                    <a:p>
                      <a:pPr algn="r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3D Models</a:t>
                      </a:r>
                      <a:br>
                        <a:rPr lang="en-US" sz="1200" b="1" kern="1200" dirty="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</a:b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&amp; Data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eological Assessments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ssess both real and synthetic data for oil exploration and the likelihood of finding resources</a:t>
                      </a:r>
                    </a:p>
                  </a:txBody>
                  <a:tcPr marL="45720" marR="45720" marT="73152" marB="73152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Financial Model Enhancement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Generate synthetic data to improve and enhance financial models and pressure test an institution’s liquidity and processe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isaster Recovery and Planning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upport urban planners and disaster recovery teams with synthetic data (e.g., traffic, population, ‘what-if scenarios’) to aid in planning and preparation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elecom Network Maintenance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rain digital twins on synthetic data to help identify network faults and provide remediations for on-field technician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j-lt"/>
                        </a:rPr>
                        <a:t>New Drug Discover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dirty="0">
                          <a:solidFill>
                            <a:schemeClr val="tx1"/>
                          </a:solidFill>
                          <a:latin typeface="+mj-lt"/>
                        </a:rPr>
                        <a:t>Generate the structure and function of proteins and biomolecules, accelerating the creation of new drug candidate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apid Product Design / Consumer Preference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ccelerate product prototyping lifecycle through creation of unique and high-fidelity product mock-ups, and create synthetic behavioral data of buyers</a:t>
                      </a:r>
                    </a:p>
                  </a:txBody>
                  <a:tcPr marL="45720" marR="45720" marT="73152" marB="73152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479464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2383CDC-9F03-9839-C1EA-2CCC379F0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Generative AI Dossier – Highlights </a:t>
            </a:r>
            <a:br>
              <a:rPr lang="en-US" dirty="0"/>
            </a:b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Selected Use Cases</a:t>
            </a:r>
            <a:endParaRPr lang="de-DE"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6" name="Graphic 5" descr="Windmill">
            <a:extLst>
              <a:ext uri="{FF2B5EF4-FFF2-40B4-BE49-F238E27FC236}">
                <a16:creationId xmlns:a16="http://schemas.microsoft.com/office/drawing/2014/main" id="{3D3EA8AC-3C07-41D2-98C2-854CD472801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32688" y="922026"/>
            <a:ext cx="240852" cy="240852"/>
          </a:xfrm>
          <a:prstGeom prst="rect">
            <a:avLst/>
          </a:prstGeom>
        </p:spPr>
      </p:pic>
      <p:pic>
        <p:nvPicPr>
          <p:cNvPr id="7" name="Graphic 6" descr="Laptop">
            <a:extLst>
              <a:ext uri="{FF2B5EF4-FFF2-40B4-BE49-F238E27FC236}">
                <a16:creationId xmlns:a16="http://schemas.microsoft.com/office/drawing/2014/main" id="{458B421F-3CA3-4D0E-B29E-ACBEE2820D4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09729" y="923580"/>
            <a:ext cx="237744" cy="237744"/>
          </a:xfrm>
          <a:prstGeom prst="rect">
            <a:avLst/>
          </a:prstGeom>
        </p:spPr>
      </p:pic>
      <p:pic>
        <p:nvPicPr>
          <p:cNvPr id="8" name="Graphic 7" descr="Money">
            <a:extLst>
              <a:ext uri="{FF2B5EF4-FFF2-40B4-BE49-F238E27FC236}">
                <a16:creationId xmlns:a16="http://schemas.microsoft.com/office/drawing/2014/main" id="{90BFBCB1-6BC6-493B-87ED-9C419056856D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32581" y="923580"/>
            <a:ext cx="237744" cy="237744"/>
          </a:xfrm>
          <a:prstGeom prst="rect">
            <a:avLst/>
          </a:prstGeom>
        </p:spPr>
      </p:pic>
      <p:pic>
        <p:nvPicPr>
          <p:cNvPr id="9" name="Graphic 8" descr="Bank">
            <a:extLst>
              <a:ext uri="{FF2B5EF4-FFF2-40B4-BE49-F238E27FC236}">
                <a16:creationId xmlns:a16="http://schemas.microsoft.com/office/drawing/2014/main" id="{98BE2318-94E9-48CD-B994-B958DED7BB8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54039" y="923580"/>
            <a:ext cx="237744" cy="237744"/>
          </a:xfrm>
          <a:prstGeom prst="rect">
            <a:avLst/>
          </a:prstGeom>
        </p:spPr>
      </p:pic>
      <p:pic>
        <p:nvPicPr>
          <p:cNvPr id="10" name="Graphic 9" descr="Heart with pulse">
            <a:extLst>
              <a:ext uri="{FF2B5EF4-FFF2-40B4-BE49-F238E27FC236}">
                <a16:creationId xmlns:a16="http://schemas.microsoft.com/office/drawing/2014/main" id="{6B596ABF-715F-4F55-8307-B1AC095849C8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379474" y="923580"/>
            <a:ext cx="237744" cy="237744"/>
          </a:xfrm>
          <a:prstGeom prst="rect">
            <a:avLst/>
          </a:prstGeom>
        </p:spPr>
      </p:pic>
      <p:pic>
        <p:nvPicPr>
          <p:cNvPr id="11" name="Graphic 10" descr="Store">
            <a:extLst>
              <a:ext uri="{FF2B5EF4-FFF2-40B4-BE49-F238E27FC236}">
                <a16:creationId xmlns:a16="http://schemas.microsoft.com/office/drawing/2014/main" id="{F5E9254E-1638-4E0C-81C4-F091B4D5ACAB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180704" y="923580"/>
            <a:ext cx="237744" cy="237744"/>
          </a:xfrm>
          <a:prstGeom prst="rect">
            <a:avLst/>
          </a:prstGeom>
        </p:spPr>
      </p:pic>
      <p:sp>
        <p:nvSpPr>
          <p:cNvPr id="2" name="Right Triangle 1">
            <a:extLst>
              <a:ext uri="{FF2B5EF4-FFF2-40B4-BE49-F238E27FC236}">
                <a16:creationId xmlns:a16="http://schemas.microsoft.com/office/drawing/2014/main" id="{D154477B-5E7B-42BF-A033-D715D7916977}"/>
              </a:ext>
            </a:extLst>
          </p:cNvPr>
          <p:cNvSpPr/>
          <p:nvPr/>
        </p:nvSpPr>
        <p:spPr bwMode="gray">
          <a:xfrm>
            <a:off x="63500" y="1021943"/>
            <a:ext cx="1371600" cy="558775"/>
          </a:xfrm>
          <a:prstGeom prst="rtTriangle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800" b="1">
              <a:solidFill>
                <a:schemeClr val="bg1"/>
              </a:solidFill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0D20C5CD-D036-406E-9588-EBE954DA8E15}"/>
              </a:ext>
            </a:extLst>
          </p:cNvPr>
          <p:cNvSpPr/>
          <p:nvPr/>
        </p:nvSpPr>
        <p:spPr bwMode="gray">
          <a:xfrm flipH="1" flipV="1">
            <a:off x="63500" y="893825"/>
            <a:ext cx="1350178" cy="571938"/>
          </a:xfrm>
          <a:prstGeom prst="rtTriangle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801460-197F-438C-A1AA-0BF46E3E28CE}"/>
              </a:ext>
            </a:extLst>
          </p:cNvPr>
          <p:cNvSpPr txBox="1"/>
          <p:nvPr/>
        </p:nvSpPr>
        <p:spPr>
          <a:xfrm>
            <a:off x="116892" y="1330419"/>
            <a:ext cx="873303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b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daliti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BDA947-E293-4BE1-8878-CEC9AB3564F3}"/>
              </a:ext>
            </a:extLst>
          </p:cNvPr>
          <p:cNvSpPr txBox="1"/>
          <p:nvPr/>
        </p:nvSpPr>
        <p:spPr>
          <a:xfrm>
            <a:off x="772722" y="954743"/>
            <a:ext cx="640956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dustry</a:t>
            </a:r>
          </a:p>
        </p:txBody>
      </p:sp>
      <p:grpSp>
        <p:nvGrpSpPr>
          <p:cNvPr id="15" name="Graphic 1100">
            <a:extLst>
              <a:ext uri="{FF2B5EF4-FFF2-40B4-BE49-F238E27FC236}">
                <a16:creationId xmlns:a16="http://schemas.microsoft.com/office/drawing/2014/main" id="{E5F79311-EA70-420B-BF8B-EA69E580A287}"/>
              </a:ext>
            </a:extLst>
          </p:cNvPr>
          <p:cNvGrpSpPr/>
          <p:nvPr/>
        </p:nvGrpSpPr>
        <p:grpSpPr>
          <a:xfrm>
            <a:off x="130983" y="2443290"/>
            <a:ext cx="457200" cy="457200"/>
            <a:chOff x="5708769" y="3343617"/>
            <a:chExt cx="362312" cy="361971"/>
          </a:xfrm>
          <a:solidFill>
            <a:schemeClr val="bg1"/>
          </a:solidFill>
        </p:grpSpPr>
        <p:sp>
          <p:nvSpPr>
            <p:cNvPr id="16" name="Graphic 1100">
              <a:extLst>
                <a:ext uri="{FF2B5EF4-FFF2-40B4-BE49-F238E27FC236}">
                  <a16:creationId xmlns:a16="http://schemas.microsoft.com/office/drawing/2014/main" id="{92606786-9944-4406-9FD1-48DE7CFEC9AF}"/>
                </a:ext>
              </a:extLst>
            </p:cNvPr>
            <p:cNvSpPr/>
            <p:nvPr/>
          </p:nvSpPr>
          <p:spPr>
            <a:xfrm>
              <a:off x="5708769" y="3343617"/>
              <a:ext cx="362312" cy="361971"/>
            </a:xfrm>
            <a:custGeom>
              <a:avLst/>
              <a:gdLst>
                <a:gd name="connsiteX0" fmla="*/ 181474 w 362312"/>
                <a:gd name="connsiteY0" fmla="*/ 0 h 361971"/>
                <a:gd name="connsiteX1" fmla="*/ 0 w 362312"/>
                <a:gd name="connsiteY1" fmla="*/ 180667 h 361971"/>
                <a:gd name="connsiteX2" fmla="*/ 180835 w 362312"/>
                <a:gd name="connsiteY2" fmla="*/ 361972 h 361971"/>
                <a:gd name="connsiteX3" fmla="*/ 362309 w 362312"/>
                <a:gd name="connsiteY3" fmla="*/ 181305 h 361971"/>
                <a:gd name="connsiteX4" fmla="*/ 362309 w 362312"/>
                <a:gd name="connsiteY4" fmla="*/ 181305 h 361971"/>
                <a:gd name="connsiteX5" fmla="*/ 181474 w 362312"/>
                <a:gd name="connsiteY5" fmla="*/ 0 h 361971"/>
                <a:gd name="connsiteX6" fmla="*/ 181474 w 362312"/>
                <a:gd name="connsiteY6" fmla="*/ 349204 h 361971"/>
                <a:gd name="connsiteX7" fmla="*/ 12780 w 362312"/>
                <a:gd name="connsiteY7" fmla="*/ 181305 h 361971"/>
                <a:gd name="connsiteX8" fmla="*/ 180835 w 362312"/>
                <a:gd name="connsiteY8" fmla="*/ 12768 h 361971"/>
                <a:gd name="connsiteX9" fmla="*/ 349529 w 362312"/>
                <a:gd name="connsiteY9" fmla="*/ 180667 h 361971"/>
                <a:gd name="connsiteX10" fmla="*/ 349529 w 362312"/>
                <a:gd name="connsiteY10" fmla="*/ 180667 h 361971"/>
                <a:gd name="connsiteX11" fmla="*/ 181474 w 362312"/>
                <a:gd name="connsiteY11" fmla="*/ 349204 h 361971"/>
                <a:gd name="connsiteX12" fmla="*/ 181474 w 362312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12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8" y="81077"/>
                    <a:pt x="281796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5" y="12768"/>
                  </a:cubicBezTo>
                  <a:cubicBezTo>
                    <a:pt x="274128" y="12768"/>
                    <a:pt x="349529" y="88099"/>
                    <a:pt x="349529" y="180667"/>
                  </a:cubicBezTo>
                  <a:cubicBezTo>
                    <a:pt x="349529" y="180667"/>
                    <a:pt x="349529" y="180667"/>
                    <a:pt x="349529" y="180667"/>
                  </a:cubicBezTo>
                  <a:cubicBezTo>
                    <a:pt x="350168" y="273873"/>
                    <a:pt x="274767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Graphic 1100">
              <a:extLst>
                <a:ext uri="{FF2B5EF4-FFF2-40B4-BE49-F238E27FC236}">
                  <a16:creationId xmlns:a16="http://schemas.microsoft.com/office/drawing/2014/main" id="{AB758173-C3D1-44CF-BF9E-8592272CDF26}"/>
                </a:ext>
              </a:extLst>
            </p:cNvPr>
            <p:cNvSpPr/>
            <p:nvPr/>
          </p:nvSpPr>
          <p:spPr>
            <a:xfrm>
              <a:off x="5810369" y="3415118"/>
              <a:ext cx="159748" cy="218970"/>
            </a:xfrm>
            <a:custGeom>
              <a:avLst/>
              <a:gdLst>
                <a:gd name="connsiteX0" fmla="*/ 157832 w 159748"/>
                <a:gd name="connsiteY0" fmla="*/ 53625 h 218970"/>
                <a:gd name="connsiteX1" fmla="*/ 106712 w 159748"/>
                <a:gd name="connsiteY1" fmla="*/ 1915 h 218970"/>
                <a:gd name="connsiteX2" fmla="*/ 104795 w 159748"/>
                <a:gd name="connsiteY2" fmla="*/ 638 h 218970"/>
                <a:gd name="connsiteX3" fmla="*/ 102239 w 159748"/>
                <a:gd name="connsiteY3" fmla="*/ 0 h 218970"/>
                <a:gd name="connsiteX4" fmla="*/ 6390 w 159748"/>
                <a:gd name="connsiteY4" fmla="*/ 0 h 218970"/>
                <a:gd name="connsiteX5" fmla="*/ 0 w 159748"/>
                <a:gd name="connsiteY5" fmla="*/ 6384 h 218970"/>
                <a:gd name="connsiteX6" fmla="*/ 0 w 159748"/>
                <a:gd name="connsiteY6" fmla="*/ 212587 h 218970"/>
                <a:gd name="connsiteX7" fmla="*/ 6390 w 159748"/>
                <a:gd name="connsiteY7" fmla="*/ 218971 h 218970"/>
                <a:gd name="connsiteX8" fmla="*/ 153358 w 159748"/>
                <a:gd name="connsiteY8" fmla="*/ 218971 h 218970"/>
                <a:gd name="connsiteX9" fmla="*/ 159748 w 159748"/>
                <a:gd name="connsiteY9" fmla="*/ 212587 h 218970"/>
                <a:gd name="connsiteX10" fmla="*/ 159748 w 159748"/>
                <a:gd name="connsiteY10" fmla="*/ 58094 h 218970"/>
                <a:gd name="connsiteX11" fmla="*/ 159110 w 159748"/>
                <a:gd name="connsiteY11" fmla="*/ 55541 h 218970"/>
                <a:gd name="connsiteX12" fmla="*/ 157832 w 159748"/>
                <a:gd name="connsiteY12" fmla="*/ 53625 h 218970"/>
                <a:gd name="connsiteX13" fmla="*/ 108629 w 159748"/>
                <a:gd name="connsiteY13" fmla="*/ 22344 h 218970"/>
                <a:gd name="connsiteX14" fmla="*/ 138023 w 159748"/>
                <a:gd name="connsiteY14" fmla="*/ 51710 h 218970"/>
                <a:gd name="connsiteX15" fmla="*/ 108629 w 159748"/>
                <a:gd name="connsiteY15" fmla="*/ 51710 h 218970"/>
                <a:gd name="connsiteX16" fmla="*/ 108629 w 159748"/>
                <a:gd name="connsiteY16" fmla="*/ 22344 h 218970"/>
                <a:gd name="connsiteX17" fmla="*/ 12780 w 159748"/>
                <a:gd name="connsiteY17" fmla="*/ 206203 h 218970"/>
                <a:gd name="connsiteX18" fmla="*/ 12780 w 159748"/>
                <a:gd name="connsiteY18" fmla="*/ 13406 h 218970"/>
                <a:gd name="connsiteX19" fmla="*/ 95849 w 159748"/>
                <a:gd name="connsiteY19" fmla="*/ 13406 h 218970"/>
                <a:gd name="connsiteX20" fmla="*/ 95849 w 159748"/>
                <a:gd name="connsiteY20" fmla="*/ 58733 h 218970"/>
                <a:gd name="connsiteX21" fmla="*/ 102239 w 159748"/>
                <a:gd name="connsiteY21" fmla="*/ 65117 h 218970"/>
                <a:gd name="connsiteX22" fmla="*/ 146969 w 159748"/>
                <a:gd name="connsiteY22" fmla="*/ 65117 h 218970"/>
                <a:gd name="connsiteX23" fmla="*/ 146969 w 159748"/>
                <a:gd name="connsiteY23" fmla="*/ 206203 h 218970"/>
                <a:gd name="connsiteX24" fmla="*/ 12780 w 159748"/>
                <a:gd name="connsiteY24" fmla="*/ 206203 h 218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9748" h="218970">
                  <a:moveTo>
                    <a:pt x="157832" y="53625"/>
                  </a:moveTo>
                  <a:lnTo>
                    <a:pt x="106712" y="1915"/>
                  </a:lnTo>
                  <a:cubicBezTo>
                    <a:pt x="106073" y="1277"/>
                    <a:pt x="105434" y="638"/>
                    <a:pt x="104795" y="638"/>
                  </a:cubicBezTo>
                  <a:cubicBezTo>
                    <a:pt x="104156" y="0"/>
                    <a:pt x="102878" y="0"/>
                    <a:pt x="102239" y="0"/>
                  </a:cubicBez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lnTo>
                    <a:pt x="0" y="212587"/>
                  </a:lnTo>
                  <a:cubicBezTo>
                    <a:pt x="0" y="216417"/>
                    <a:pt x="2556" y="218971"/>
                    <a:pt x="6390" y="218971"/>
                  </a:cubicBezTo>
                  <a:lnTo>
                    <a:pt x="153358" y="218971"/>
                  </a:lnTo>
                  <a:cubicBezTo>
                    <a:pt x="157193" y="218971"/>
                    <a:pt x="159748" y="216417"/>
                    <a:pt x="159748" y="212587"/>
                  </a:cubicBezTo>
                  <a:lnTo>
                    <a:pt x="159748" y="58094"/>
                  </a:lnTo>
                  <a:cubicBezTo>
                    <a:pt x="159748" y="57456"/>
                    <a:pt x="159748" y="56179"/>
                    <a:pt x="159110" y="55541"/>
                  </a:cubicBezTo>
                  <a:cubicBezTo>
                    <a:pt x="159110" y="54902"/>
                    <a:pt x="158470" y="54264"/>
                    <a:pt x="157832" y="53625"/>
                  </a:cubicBezTo>
                  <a:close/>
                  <a:moveTo>
                    <a:pt x="108629" y="22344"/>
                  </a:moveTo>
                  <a:lnTo>
                    <a:pt x="138023" y="51710"/>
                  </a:lnTo>
                  <a:lnTo>
                    <a:pt x="108629" y="51710"/>
                  </a:lnTo>
                  <a:lnTo>
                    <a:pt x="108629" y="22344"/>
                  </a:lnTo>
                  <a:close/>
                  <a:moveTo>
                    <a:pt x="12780" y="206203"/>
                  </a:moveTo>
                  <a:lnTo>
                    <a:pt x="12780" y="13406"/>
                  </a:lnTo>
                  <a:lnTo>
                    <a:pt x="95849" y="13406"/>
                  </a:lnTo>
                  <a:lnTo>
                    <a:pt x="95849" y="58733"/>
                  </a:lnTo>
                  <a:cubicBezTo>
                    <a:pt x="95849" y="62563"/>
                    <a:pt x="98405" y="65117"/>
                    <a:pt x="102239" y="65117"/>
                  </a:cubicBezTo>
                  <a:lnTo>
                    <a:pt x="146969" y="65117"/>
                  </a:lnTo>
                  <a:lnTo>
                    <a:pt x="146969" y="206203"/>
                  </a:lnTo>
                  <a:lnTo>
                    <a:pt x="12780" y="20620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Graphic 1100">
              <a:extLst>
                <a:ext uri="{FF2B5EF4-FFF2-40B4-BE49-F238E27FC236}">
                  <a16:creationId xmlns:a16="http://schemas.microsoft.com/office/drawing/2014/main" id="{4CDC7998-5082-433B-8A3C-6976B3A3B002}"/>
                </a:ext>
              </a:extLst>
            </p:cNvPr>
            <p:cNvSpPr/>
            <p:nvPr/>
          </p:nvSpPr>
          <p:spPr>
            <a:xfrm>
              <a:off x="5860410" y="3505970"/>
              <a:ext cx="60504" cy="85345"/>
            </a:xfrm>
            <a:custGeom>
              <a:avLst/>
              <a:gdLst>
                <a:gd name="connsiteX0" fmla="*/ 57949 w 60504"/>
                <a:gd name="connsiteY0" fmla="*/ 1077 h 85345"/>
                <a:gd name="connsiteX1" fmla="*/ 49003 w 60504"/>
                <a:gd name="connsiteY1" fmla="*/ 2993 h 85345"/>
                <a:gd name="connsiteX2" fmla="*/ 1078 w 60504"/>
                <a:gd name="connsiteY2" fmla="*/ 75132 h 85345"/>
                <a:gd name="connsiteX3" fmla="*/ 2995 w 60504"/>
                <a:gd name="connsiteY3" fmla="*/ 84069 h 85345"/>
                <a:gd name="connsiteX4" fmla="*/ 2995 w 60504"/>
                <a:gd name="connsiteY4" fmla="*/ 84069 h 85345"/>
                <a:gd name="connsiteX5" fmla="*/ 6829 w 60504"/>
                <a:gd name="connsiteY5" fmla="*/ 85346 h 85345"/>
                <a:gd name="connsiteX6" fmla="*/ 11941 w 60504"/>
                <a:gd name="connsiteY6" fmla="*/ 82792 h 85345"/>
                <a:gd name="connsiteX7" fmla="*/ 59866 w 60504"/>
                <a:gd name="connsiteY7" fmla="*/ 10653 h 85345"/>
                <a:gd name="connsiteX8" fmla="*/ 57949 w 60504"/>
                <a:gd name="connsiteY8" fmla="*/ 1077 h 85345"/>
                <a:gd name="connsiteX9" fmla="*/ 57949 w 60504"/>
                <a:gd name="connsiteY9" fmla="*/ 1077 h 85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504" h="85345">
                  <a:moveTo>
                    <a:pt x="57949" y="1077"/>
                  </a:moveTo>
                  <a:cubicBezTo>
                    <a:pt x="54754" y="-838"/>
                    <a:pt x="50920" y="-199"/>
                    <a:pt x="49003" y="2993"/>
                  </a:cubicBezTo>
                  <a:lnTo>
                    <a:pt x="1078" y="75132"/>
                  </a:lnTo>
                  <a:cubicBezTo>
                    <a:pt x="-839" y="78324"/>
                    <a:pt x="-200" y="82154"/>
                    <a:pt x="2995" y="84069"/>
                  </a:cubicBezTo>
                  <a:cubicBezTo>
                    <a:pt x="2995" y="84069"/>
                    <a:pt x="2995" y="84069"/>
                    <a:pt x="2995" y="84069"/>
                  </a:cubicBezTo>
                  <a:cubicBezTo>
                    <a:pt x="4273" y="84708"/>
                    <a:pt x="5551" y="85346"/>
                    <a:pt x="6829" y="85346"/>
                  </a:cubicBezTo>
                  <a:cubicBezTo>
                    <a:pt x="8746" y="85346"/>
                    <a:pt x="10663" y="84069"/>
                    <a:pt x="11941" y="82792"/>
                  </a:cubicBezTo>
                  <a:lnTo>
                    <a:pt x="59866" y="10653"/>
                  </a:lnTo>
                  <a:cubicBezTo>
                    <a:pt x="61144" y="6823"/>
                    <a:pt x="60505" y="2993"/>
                    <a:pt x="57949" y="1077"/>
                  </a:cubicBezTo>
                  <a:cubicBezTo>
                    <a:pt x="57949" y="1077"/>
                    <a:pt x="57949" y="1077"/>
                    <a:pt x="57949" y="107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Graphic 1100">
              <a:extLst>
                <a:ext uri="{FF2B5EF4-FFF2-40B4-BE49-F238E27FC236}">
                  <a16:creationId xmlns:a16="http://schemas.microsoft.com/office/drawing/2014/main" id="{64151C6E-A662-4F99-A29F-1ADB6FA0E294}"/>
                </a:ext>
              </a:extLst>
            </p:cNvPr>
            <p:cNvSpPr/>
            <p:nvPr/>
          </p:nvSpPr>
          <p:spPr>
            <a:xfrm>
              <a:off x="5835929" y="3497493"/>
              <a:ext cx="37039" cy="45304"/>
            </a:xfrm>
            <a:custGeom>
              <a:avLst/>
              <a:gdLst>
                <a:gd name="connsiteX0" fmla="*/ 30672 w 37039"/>
                <a:gd name="connsiteY0" fmla="*/ 45304 h 45304"/>
                <a:gd name="connsiteX1" fmla="*/ 35784 w 37039"/>
                <a:gd name="connsiteY1" fmla="*/ 42751 h 45304"/>
                <a:gd name="connsiteX2" fmla="*/ 33867 w 37039"/>
                <a:gd name="connsiteY2" fmla="*/ 33813 h 45304"/>
                <a:gd name="connsiteX3" fmla="*/ 33867 w 37039"/>
                <a:gd name="connsiteY3" fmla="*/ 33813 h 45304"/>
                <a:gd name="connsiteX4" fmla="*/ 17892 w 37039"/>
                <a:gd name="connsiteY4" fmla="*/ 22961 h 45304"/>
                <a:gd name="connsiteX5" fmla="*/ 33867 w 37039"/>
                <a:gd name="connsiteY5" fmla="*/ 12108 h 45304"/>
                <a:gd name="connsiteX6" fmla="*/ 36423 w 37039"/>
                <a:gd name="connsiteY6" fmla="*/ 3170 h 45304"/>
                <a:gd name="connsiteX7" fmla="*/ 27477 w 37039"/>
                <a:gd name="connsiteY7" fmla="*/ 617 h 45304"/>
                <a:gd name="connsiteX8" fmla="*/ 26838 w 37039"/>
                <a:gd name="connsiteY8" fmla="*/ 1255 h 45304"/>
                <a:gd name="connsiteX9" fmla="*/ 2556 w 37039"/>
                <a:gd name="connsiteY9" fmla="*/ 17215 h 45304"/>
                <a:gd name="connsiteX10" fmla="*/ 0 w 37039"/>
                <a:gd name="connsiteY10" fmla="*/ 22322 h 45304"/>
                <a:gd name="connsiteX11" fmla="*/ 2556 w 37039"/>
                <a:gd name="connsiteY11" fmla="*/ 27429 h 45304"/>
                <a:gd name="connsiteX12" fmla="*/ 26838 w 37039"/>
                <a:gd name="connsiteY12" fmla="*/ 43389 h 45304"/>
                <a:gd name="connsiteX13" fmla="*/ 30672 w 37039"/>
                <a:gd name="connsiteY13" fmla="*/ 45304 h 4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039" h="45304">
                  <a:moveTo>
                    <a:pt x="30672" y="45304"/>
                  </a:moveTo>
                  <a:cubicBezTo>
                    <a:pt x="32589" y="45304"/>
                    <a:pt x="34506" y="44028"/>
                    <a:pt x="35784" y="42751"/>
                  </a:cubicBezTo>
                  <a:cubicBezTo>
                    <a:pt x="37701" y="39559"/>
                    <a:pt x="37062" y="35729"/>
                    <a:pt x="33867" y="33813"/>
                  </a:cubicBezTo>
                  <a:cubicBezTo>
                    <a:pt x="33867" y="33813"/>
                    <a:pt x="33867" y="33813"/>
                    <a:pt x="33867" y="33813"/>
                  </a:cubicBezTo>
                  <a:lnTo>
                    <a:pt x="17892" y="22961"/>
                  </a:lnTo>
                  <a:lnTo>
                    <a:pt x="33867" y="12108"/>
                  </a:lnTo>
                  <a:cubicBezTo>
                    <a:pt x="37062" y="10193"/>
                    <a:pt x="37701" y="6362"/>
                    <a:pt x="36423" y="3170"/>
                  </a:cubicBezTo>
                  <a:cubicBezTo>
                    <a:pt x="34506" y="-22"/>
                    <a:pt x="30672" y="-660"/>
                    <a:pt x="27477" y="617"/>
                  </a:cubicBezTo>
                  <a:cubicBezTo>
                    <a:pt x="27477" y="617"/>
                    <a:pt x="26838" y="617"/>
                    <a:pt x="26838" y="1255"/>
                  </a:cubicBezTo>
                  <a:lnTo>
                    <a:pt x="2556" y="17215"/>
                  </a:lnTo>
                  <a:cubicBezTo>
                    <a:pt x="639" y="18492"/>
                    <a:pt x="0" y="20407"/>
                    <a:pt x="0" y="22322"/>
                  </a:cubicBezTo>
                  <a:cubicBezTo>
                    <a:pt x="0" y="24237"/>
                    <a:pt x="1278" y="26153"/>
                    <a:pt x="2556" y="27429"/>
                  </a:cubicBezTo>
                  <a:lnTo>
                    <a:pt x="26838" y="43389"/>
                  </a:lnTo>
                  <a:cubicBezTo>
                    <a:pt x="28116" y="45304"/>
                    <a:pt x="29394" y="45304"/>
                    <a:pt x="30672" y="453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Graphic 1100">
              <a:extLst>
                <a:ext uri="{FF2B5EF4-FFF2-40B4-BE49-F238E27FC236}">
                  <a16:creationId xmlns:a16="http://schemas.microsoft.com/office/drawing/2014/main" id="{935B7AF1-29E5-4AD0-B5C4-1FCB43AED37D}"/>
                </a:ext>
              </a:extLst>
            </p:cNvPr>
            <p:cNvSpPr/>
            <p:nvPr/>
          </p:nvSpPr>
          <p:spPr>
            <a:xfrm>
              <a:off x="5907696" y="3554488"/>
              <a:ext cx="37028" cy="45765"/>
            </a:xfrm>
            <a:custGeom>
              <a:avLst/>
              <a:gdLst>
                <a:gd name="connsiteX0" fmla="*/ 34306 w 37028"/>
                <a:gd name="connsiteY0" fmla="*/ 17037 h 45765"/>
                <a:gd name="connsiteX1" fmla="*/ 10024 w 37028"/>
                <a:gd name="connsiteY1" fmla="*/ 1077 h 45765"/>
                <a:gd name="connsiteX2" fmla="*/ 1078 w 37028"/>
                <a:gd name="connsiteY2" fmla="*/ 2992 h 45765"/>
                <a:gd name="connsiteX3" fmla="*/ 2995 w 37028"/>
                <a:gd name="connsiteY3" fmla="*/ 11930 h 45765"/>
                <a:gd name="connsiteX4" fmla="*/ 2995 w 37028"/>
                <a:gd name="connsiteY4" fmla="*/ 11930 h 45765"/>
                <a:gd name="connsiteX5" fmla="*/ 18970 w 37028"/>
                <a:gd name="connsiteY5" fmla="*/ 22783 h 45765"/>
                <a:gd name="connsiteX6" fmla="*/ 2995 w 37028"/>
                <a:gd name="connsiteY6" fmla="*/ 33635 h 45765"/>
                <a:gd name="connsiteX7" fmla="*/ 1078 w 37028"/>
                <a:gd name="connsiteY7" fmla="*/ 42573 h 45765"/>
                <a:gd name="connsiteX8" fmla="*/ 6190 w 37028"/>
                <a:gd name="connsiteY8" fmla="*/ 45765 h 45765"/>
                <a:gd name="connsiteX9" fmla="*/ 9385 w 37028"/>
                <a:gd name="connsiteY9" fmla="*/ 44488 h 45765"/>
                <a:gd name="connsiteX10" fmla="*/ 33667 w 37028"/>
                <a:gd name="connsiteY10" fmla="*/ 28528 h 45765"/>
                <a:gd name="connsiteX11" fmla="*/ 36862 w 37028"/>
                <a:gd name="connsiteY11" fmla="*/ 23421 h 45765"/>
                <a:gd name="connsiteX12" fmla="*/ 34306 w 37028"/>
                <a:gd name="connsiteY12" fmla="*/ 17037 h 4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028" h="45765">
                  <a:moveTo>
                    <a:pt x="34306" y="17037"/>
                  </a:moveTo>
                  <a:lnTo>
                    <a:pt x="10024" y="1077"/>
                  </a:lnTo>
                  <a:cubicBezTo>
                    <a:pt x="6829" y="-838"/>
                    <a:pt x="2995" y="-200"/>
                    <a:pt x="1078" y="2992"/>
                  </a:cubicBezTo>
                  <a:cubicBezTo>
                    <a:pt x="-839" y="6184"/>
                    <a:pt x="-200" y="10015"/>
                    <a:pt x="2995" y="11930"/>
                  </a:cubicBezTo>
                  <a:cubicBezTo>
                    <a:pt x="2995" y="11930"/>
                    <a:pt x="2995" y="11930"/>
                    <a:pt x="2995" y="11930"/>
                  </a:cubicBezTo>
                  <a:lnTo>
                    <a:pt x="18970" y="22783"/>
                  </a:lnTo>
                  <a:lnTo>
                    <a:pt x="2995" y="33635"/>
                  </a:lnTo>
                  <a:cubicBezTo>
                    <a:pt x="-200" y="35551"/>
                    <a:pt x="-839" y="39381"/>
                    <a:pt x="1078" y="42573"/>
                  </a:cubicBezTo>
                  <a:cubicBezTo>
                    <a:pt x="2356" y="44488"/>
                    <a:pt x="4273" y="45127"/>
                    <a:pt x="6190" y="45765"/>
                  </a:cubicBezTo>
                  <a:cubicBezTo>
                    <a:pt x="7468" y="45765"/>
                    <a:pt x="8746" y="45127"/>
                    <a:pt x="9385" y="44488"/>
                  </a:cubicBezTo>
                  <a:lnTo>
                    <a:pt x="33667" y="28528"/>
                  </a:lnTo>
                  <a:cubicBezTo>
                    <a:pt x="35584" y="27251"/>
                    <a:pt x="36223" y="25336"/>
                    <a:pt x="36862" y="23421"/>
                  </a:cubicBezTo>
                  <a:cubicBezTo>
                    <a:pt x="37501" y="20229"/>
                    <a:pt x="36223" y="18314"/>
                    <a:pt x="34306" y="1703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" name="Graphic 1100">
            <a:extLst>
              <a:ext uri="{FF2B5EF4-FFF2-40B4-BE49-F238E27FC236}">
                <a16:creationId xmlns:a16="http://schemas.microsoft.com/office/drawing/2014/main" id="{8884AC97-DEF6-4D94-A0B2-8898C0FCBC22}"/>
              </a:ext>
            </a:extLst>
          </p:cNvPr>
          <p:cNvGrpSpPr/>
          <p:nvPr/>
        </p:nvGrpSpPr>
        <p:grpSpPr>
          <a:xfrm>
            <a:off x="130983" y="3831292"/>
            <a:ext cx="457200" cy="457200"/>
            <a:chOff x="8841755" y="4797250"/>
            <a:chExt cx="362309" cy="361971"/>
          </a:xfrm>
          <a:solidFill>
            <a:schemeClr val="bg1"/>
          </a:solidFill>
        </p:grpSpPr>
        <p:sp>
          <p:nvSpPr>
            <p:cNvPr id="22" name="Graphic 1100">
              <a:extLst>
                <a:ext uri="{FF2B5EF4-FFF2-40B4-BE49-F238E27FC236}">
                  <a16:creationId xmlns:a16="http://schemas.microsoft.com/office/drawing/2014/main" id="{5C2350CE-87CC-40D9-ABE6-0C5D9D70C720}"/>
                </a:ext>
              </a:extLst>
            </p:cNvPr>
            <p:cNvSpPr/>
            <p:nvPr/>
          </p:nvSpPr>
          <p:spPr>
            <a:xfrm>
              <a:off x="8841755" y="4797250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6 w 362309"/>
                <a:gd name="connsiteY2" fmla="*/ 361972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348565 h 361971"/>
                <a:gd name="connsiteX7" fmla="*/ 12780 w 362309"/>
                <a:gd name="connsiteY7" fmla="*/ 180667 h 361971"/>
                <a:gd name="connsiteX8" fmla="*/ 180836 w 362309"/>
                <a:gd name="connsiteY8" fmla="*/ 12129 h 361971"/>
                <a:gd name="connsiteX9" fmla="*/ 349530 w 362309"/>
                <a:gd name="connsiteY9" fmla="*/ 180028 h 361971"/>
                <a:gd name="connsiteX10" fmla="*/ 349530 w 362309"/>
                <a:gd name="connsiteY10" fmla="*/ 180028 h 361971"/>
                <a:gd name="connsiteX11" fmla="*/ 181474 w 362309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3" y="0"/>
                    <a:pt x="0" y="81077"/>
                    <a:pt x="0" y="180667"/>
                  </a:cubicBezTo>
                  <a:cubicBezTo>
                    <a:pt x="0" y="280895"/>
                    <a:pt x="81153" y="361972"/>
                    <a:pt x="180836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310" y="80438"/>
                    <a:pt x="281157" y="0"/>
                    <a:pt x="181474" y="0"/>
                  </a:cubicBezTo>
                  <a:close/>
                  <a:moveTo>
                    <a:pt x="181474" y="348565"/>
                  </a:moveTo>
                  <a:cubicBezTo>
                    <a:pt x="88181" y="348565"/>
                    <a:pt x="12780" y="273234"/>
                    <a:pt x="12780" y="180667"/>
                  </a:cubicBezTo>
                  <a:cubicBezTo>
                    <a:pt x="12780" y="87461"/>
                    <a:pt x="88181" y="12129"/>
                    <a:pt x="180836" y="12129"/>
                  </a:cubicBezTo>
                  <a:cubicBezTo>
                    <a:pt x="274128" y="12129"/>
                    <a:pt x="349530" y="87461"/>
                    <a:pt x="349530" y="180028"/>
                  </a:cubicBezTo>
                  <a:cubicBezTo>
                    <a:pt x="349530" y="180028"/>
                    <a:pt x="349530" y="180028"/>
                    <a:pt x="349530" y="180028"/>
                  </a:cubicBezTo>
                  <a:cubicBezTo>
                    <a:pt x="349530" y="273234"/>
                    <a:pt x="274128" y="348565"/>
                    <a:pt x="181474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Graphic 1100">
              <a:extLst>
                <a:ext uri="{FF2B5EF4-FFF2-40B4-BE49-F238E27FC236}">
                  <a16:creationId xmlns:a16="http://schemas.microsoft.com/office/drawing/2014/main" id="{29846F22-2BCB-4187-943E-0989FFC23E62}"/>
                </a:ext>
              </a:extLst>
            </p:cNvPr>
            <p:cNvSpPr/>
            <p:nvPr/>
          </p:nvSpPr>
          <p:spPr>
            <a:xfrm>
              <a:off x="8943994" y="4869389"/>
              <a:ext cx="158470" cy="216417"/>
            </a:xfrm>
            <a:custGeom>
              <a:avLst/>
              <a:gdLst>
                <a:gd name="connsiteX0" fmla="*/ 156553 w 158470"/>
                <a:gd name="connsiteY0" fmla="*/ 52987 h 216417"/>
                <a:gd name="connsiteX1" fmla="*/ 105434 w 158470"/>
                <a:gd name="connsiteY1" fmla="*/ 1915 h 216417"/>
                <a:gd name="connsiteX2" fmla="*/ 103517 w 158470"/>
                <a:gd name="connsiteY2" fmla="*/ 638 h 216417"/>
                <a:gd name="connsiteX3" fmla="*/ 100961 w 158470"/>
                <a:gd name="connsiteY3" fmla="*/ 0 h 216417"/>
                <a:gd name="connsiteX4" fmla="*/ 6390 w 158470"/>
                <a:gd name="connsiteY4" fmla="*/ 0 h 216417"/>
                <a:gd name="connsiteX5" fmla="*/ 0 w 158470"/>
                <a:gd name="connsiteY5" fmla="*/ 6384 h 216417"/>
                <a:gd name="connsiteX6" fmla="*/ 0 w 158470"/>
                <a:gd name="connsiteY6" fmla="*/ 210033 h 216417"/>
                <a:gd name="connsiteX7" fmla="*/ 6390 w 158470"/>
                <a:gd name="connsiteY7" fmla="*/ 216417 h 216417"/>
                <a:gd name="connsiteX8" fmla="*/ 152081 w 158470"/>
                <a:gd name="connsiteY8" fmla="*/ 216417 h 216417"/>
                <a:gd name="connsiteX9" fmla="*/ 158471 w 158470"/>
                <a:gd name="connsiteY9" fmla="*/ 210033 h 216417"/>
                <a:gd name="connsiteX10" fmla="*/ 158471 w 158470"/>
                <a:gd name="connsiteY10" fmla="*/ 57456 h 216417"/>
                <a:gd name="connsiteX11" fmla="*/ 157832 w 158470"/>
                <a:gd name="connsiteY11" fmla="*/ 54902 h 216417"/>
                <a:gd name="connsiteX12" fmla="*/ 156553 w 158470"/>
                <a:gd name="connsiteY12" fmla="*/ 52987 h 216417"/>
                <a:gd name="connsiteX13" fmla="*/ 107351 w 158470"/>
                <a:gd name="connsiteY13" fmla="*/ 22344 h 216417"/>
                <a:gd name="connsiteX14" fmla="*/ 136745 w 158470"/>
                <a:gd name="connsiteY14" fmla="*/ 51710 h 216417"/>
                <a:gd name="connsiteX15" fmla="*/ 107351 w 158470"/>
                <a:gd name="connsiteY15" fmla="*/ 51710 h 216417"/>
                <a:gd name="connsiteX16" fmla="*/ 107351 w 158470"/>
                <a:gd name="connsiteY16" fmla="*/ 22344 h 216417"/>
                <a:gd name="connsiteX17" fmla="*/ 12780 w 158470"/>
                <a:gd name="connsiteY17" fmla="*/ 204287 h 216417"/>
                <a:gd name="connsiteX18" fmla="*/ 12780 w 158470"/>
                <a:gd name="connsiteY18" fmla="*/ 13406 h 216417"/>
                <a:gd name="connsiteX19" fmla="*/ 94571 w 158470"/>
                <a:gd name="connsiteY19" fmla="*/ 13406 h 216417"/>
                <a:gd name="connsiteX20" fmla="*/ 94571 w 158470"/>
                <a:gd name="connsiteY20" fmla="*/ 58094 h 216417"/>
                <a:gd name="connsiteX21" fmla="*/ 100961 w 158470"/>
                <a:gd name="connsiteY21" fmla="*/ 64478 h 216417"/>
                <a:gd name="connsiteX22" fmla="*/ 145691 w 158470"/>
                <a:gd name="connsiteY22" fmla="*/ 64478 h 216417"/>
                <a:gd name="connsiteX23" fmla="*/ 145691 w 158470"/>
                <a:gd name="connsiteY23" fmla="*/ 204287 h 216417"/>
                <a:gd name="connsiteX24" fmla="*/ 12780 w 158470"/>
                <a:gd name="connsiteY24" fmla="*/ 204287 h 216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8470" h="216417">
                  <a:moveTo>
                    <a:pt x="156553" y="52987"/>
                  </a:moveTo>
                  <a:lnTo>
                    <a:pt x="105434" y="1915"/>
                  </a:lnTo>
                  <a:cubicBezTo>
                    <a:pt x="104795" y="1277"/>
                    <a:pt x="104156" y="638"/>
                    <a:pt x="103517" y="638"/>
                  </a:cubicBezTo>
                  <a:cubicBezTo>
                    <a:pt x="102879" y="0"/>
                    <a:pt x="102239" y="0"/>
                    <a:pt x="100961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210033"/>
                  </a:lnTo>
                  <a:cubicBezTo>
                    <a:pt x="0" y="213863"/>
                    <a:pt x="2556" y="216417"/>
                    <a:pt x="6390" y="216417"/>
                  </a:cubicBezTo>
                  <a:lnTo>
                    <a:pt x="152081" y="216417"/>
                  </a:lnTo>
                  <a:cubicBezTo>
                    <a:pt x="155915" y="216417"/>
                    <a:pt x="158471" y="213863"/>
                    <a:pt x="158471" y="210033"/>
                  </a:cubicBezTo>
                  <a:lnTo>
                    <a:pt x="158471" y="57456"/>
                  </a:lnTo>
                  <a:cubicBezTo>
                    <a:pt x="158471" y="56818"/>
                    <a:pt x="158471" y="55541"/>
                    <a:pt x="157832" y="54902"/>
                  </a:cubicBezTo>
                  <a:cubicBezTo>
                    <a:pt x="157193" y="54264"/>
                    <a:pt x="157193" y="53626"/>
                    <a:pt x="156553" y="52987"/>
                  </a:cubicBezTo>
                  <a:close/>
                  <a:moveTo>
                    <a:pt x="107351" y="22344"/>
                  </a:moveTo>
                  <a:lnTo>
                    <a:pt x="136745" y="51710"/>
                  </a:lnTo>
                  <a:lnTo>
                    <a:pt x="107351" y="51710"/>
                  </a:lnTo>
                  <a:lnTo>
                    <a:pt x="107351" y="22344"/>
                  </a:lnTo>
                  <a:close/>
                  <a:moveTo>
                    <a:pt x="12780" y="204287"/>
                  </a:moveTo>
                  <a:lnTo>
                    <a:pt x="12780" y="13406"/>
                  </a:lnTo>
                  <a:lnTo>
                    <a:pt x="94571" y="13406"/>
                  </a:lnTo>
                  <a:lnTo>
                    <a:pt x="94571" y="58094"/>
                  </a:lnTo>
                  <a:cubicBezTo>
                    <a:pt x="94571" y="61925"/>
                    <a:pt x="97128" y="64478"/>
                    <a:pt x="100961" y="64478"/>
                  </a:cubicBezTo>
                  <a:lnTo>
                    <a:pt x="145691" y="64478"/>
                  </a:lnTo>
                  <a:lnTo>
                    <a:pt x="145691" y="204287"/>
                  </a:lnTo>
                  <a:lnTo>
                    <a:pt x="12780" y="204287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Graphic 1100">
              <a:extLst>
                <a:ext uri="{FF2B5EF4-FFF2-40B4-BE49-F238E27FC236}">
                  <a16:creationId xmlns:a16="http://schemas.microsoft.com/office/drawing/2014/main" id="{E56BEC41-DBC1-4A1F-A80D-1AE372C02808}"/>
                </a:ext>
              </a:extLst>
            </p:cNvPr>
            <p:cNvSpPr/>
            <p:nvPr/>
          </p:nvSpPr>
          <p:spPr>
            <a:xfrm>
              <a:off x="8972749" y="5044310"/>
              <a:ext cx="100322" cy="12767"/>
            </a:xfrm>
            <a:custGeom>
              <a:avLst/>
              <a:gdLst>
                <a:gd name="connsiteX0" fmla="*/ 93933 w 100322"/>
                <a:gd name="connsiteY0" fmla="*/ 0 h 12767"/>
                <a:gd name="connsiteX1" fmla="*/ 6390 w 100322"/>
                <a:gd name="connsiteY1" fmla="*/ 0 h 12767"/>
                <a:gd name="connsiteX2" fmla="*/ 0 w 100322"/>
                <a:gd name="connsiteY2" fmla="*/ 6384 h 12767"/>
                <a:gd name="connsiteX3" fmla="*/ 6390 w 100322"/>
                <a:gd name="connsiteY3" fmla="*/ 12768 h 12767"/>
                <a:gd name="connsiteX4" fmla="*/ 93933 w 100322"/>
                <a:gd name="connsiteY4" fmla="*/ 12768 h 12767"/>
                <a:gd name="connsiteX5" fmla="*/ 100322 w 100322"/>
                <a:gd name="connsiteY5" fmla="*/ 6384 h 12767"/>
                <a:gd name="connsiteX6" fmla="*/ 93933 w 100322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322" h="12767">
                  <a:moveTo>
                    <a:pt x="93933" y="0"/>
                  </a:move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93933" y="12768"/>
                  </a:lnTo>
                  <a:cubicBezTo>
                    <a:pt x="97766" y="12768"/>
                    <a:pt x="100322" y="10214"/>
                    <a:pt x="100322" y="6384"/>
                  </a:cubicBezTo>
                  <a:cubicBezTo>
                    <a:pt x="100322" y="2553"/>
                    <a:pt x="97766" y="0"/>
                    <a:pt x="93933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Graphic 1100">
              <a:extLst>
                <a:ext uri="{FF2B5EF4-FFF2-40B4-BE49-F238E27FC236}">
                  <a16:creationId xmlns:a16="http://schemas.microsoft.com/office/drawing/2014/main" id="{4BB3B700-3286-43CB-9B9F-6BB3BA9149FC}"/>
                </a:ext>
              </a:extLst>
            </p:cNvPr>
            <p:cNvSpPr/>
            <p:nvPr/>
          </p:nvSpPr>
          <p:spPr>
            <a:xfrm>
              <a:off x="8972749" y="5014944"/>
              <a:ext cx="100322" cy="12767"/>
            </a:xfrm>
            <a:custGeom>
              <a:avLst/>
              <a:gdLst>
                <a:gd name="connsiteX0" fmla="*/ 93933 w 100322"/>
                <a:gd name="connsiteY0" fmla="*/ 0 h 12767"/>
                <a:gd name="connsiteX1" fmla="*/ 6390 w 100322"/>
                <a:gd name="connsiteY1" fmla="*/ 0 h 12767"/>
                <a:gd name="connsiteX2" fmla="*/ 0 w 100322"/>
                <a:gd name="connsiteY2" fmla="*/ 6384 h 12767"/>
                <a:gd name="connsiteX3" fmla="*/ 6390 w 100322"/>
                <a:gd name="connsiteY3" fmla="*/ 12768 h 12767"/>
                <a:gd name="connsiteX4" fmla="*/ 93933 w 100322"/>
                <a:gd name="connsiteY4" fmla="*/ 12768 h 12767"/>
                <a:gd name="connsiteX5" fmla="*/ 100322 w 100322"/>
                <a:gd name="connsiteY5" fmla="*/ 6384 h 12767"/>
                <a:gd name="connsiteX6" fmla="*/ 93933 w 100322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322" h="12767">
                  <a:moveTo>
                    <a:pt x="9393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5"/>
                    <a:pt x="2556" y="12768"/>
                    <a:pt x="6390" y="12768"/>
                  </a:cubicBezTo>
                  <a:lnTo>
                    <a:pt x="93933" y="12768"/>
                  </a:lnTo>
                  <a:cubicBezTo>
                    <a:pt x="97766" y="12768"/>
                    <a:pt x="100322" y="10215"/>
                    <a:pt x="100322" y="6384"/>
                  </a:cubicBezTo>
                  <a:cubicBezTo>
                    <a:pt x="100322" y="2554"/>
                    <a:pt x="97766" y="0"/>
                    <a:pt x="93933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Graphic 1100">
              <a:extLst>
                <a:ext uri="{FF2B5EF4-FFF2-40B4-BE49-F238E27FC236}">
                  <a16:creationId xmlns:a16="http://schemas.microsoft.com/office/drawing/2014/main" id="{5DE3622D-C9AC-4854-8458-6BA09D5F2130}"/>
                </a:ext>
              </a:extLst>
            </p:cNvPr>
            <p:cNvSpPr/>
            <p:nvPr/>
          </p:nvSpPr>
          <p:spPr>
            <a:xfrm>
              <a:off x="8972749" y="4986216"/>
              <a:ext cx="100322" cy="12767"/>
            </a:xfrm>
            <a:custGeom>
              <a:avLst/>
              <a:gdLst>
                <a:gd name="connsiteX0" fmla="*/ 93933 w 100322"/>
                <a:gd name="connsiteY0" fmla="*/ 0 h 12767"/>
                <a:gd name="connsiteX1" fmla="*/ 6390 w 100322"/>
                <a:gd name="connsiteY1" fmla="*/ 0 h 12767"/>
                <a:gd name="connsiteX2" fmla="*/ 0 w 100322"/>
                <a:gd name="connsiteY2" fmla="*/ 6384 h 12767"/>
                <a:gd name="connsiteX3" fmla="*/ 6390 w 100322"/>
                <a:gd name="connsiteY3" fmla="*/ 12768 h 12767"/>
                <a:gd name="connsiteX4" fmla="*/ 93933 w 100322"/>
                <a:gd name="connsiteY4" fmla="*/ 12768 h 12767"/>
                <a:gd name="connsiteX5" fmla="*/ 100322 w 100322"/>
                <a:gd name="connsiteY5" fmla="*/ 6384 h 12767"/>
                <a:gd name="connsiteX6" fmla="*/ 93933 w 100322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322" h="12767">
                  <a:moveTo>
                    <a:pt x="9393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5"/>
                    <a:pt x="2556" y="12768"/>
                    <a:pt x="6390" y="12768"/>
                  </a:cubicBezTo>
                  <a:lnTo>
                    <a:pt x="93933" y="12768"/>
                  </a:lnTo>
                  <a:cubicBezTo>
                    <a:pt x="97766" y="12768"/>
                    <a:pt x="100322" y="10215"/>
                    <a:pt x="100322" y="6384"/>
                  </a:cubicBezTo>
                  <a:cubicBezTo>
                    <a:pt x="100322" y="2554"/>
                    <a:pt x="97766" y="0"/>
                    <a:pt x="93933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Graphic 1100">
              <a:extLst>
                <a:ext uri="{FF2B5EF4-FFF2-40B4-BE49-F238E27FC236}">
                  <a16:creationId xmlns:a16="http://schemas.microsoft.com/office/drawing/2014/main" id="{86FF6345-58EB-44EF-9F70-B9010142C1D0}"/>
                </a:ext>
              </a:extLst>
            </p:cNvPr>
            <p:cNvSpPr/>
            <p:nvPr/>
          </p:nvSpPr>
          <p:spPr>
            <a:xfrm>
              <a:off x="8972749" y="4956850"/>
              <a:ext cx="100322" cy="12767"/>
            </a:xfrm>
            <a:custGeom>
              <a:avLst/>
              <a:gdLst>
                <a:gd name="connsiteX0" fmla="*/ 93933 w 100322"/>
                <a:gd name="connsiteY0" fmla="*/ 0 h 12767"/>
                <a:gd name="connsiteX1" fmla="*/ 6390 w 100322"/>
                <a:gd name="connsiteY1" fmla="*/ 0 h 12767"/>
                <a:gd name="connsiteX2" fmla="*/ 0 w 100322"/>
                <a:gd name="connsiteY2" fmla="*/ 6384 h 12767"/>
                <a:gd name="connsiteX3" fmla="*/ 6390 w 100322"/>
                <a:gd name="connsiteY3" fmla="*/ 12768 h 12767"/>
                <a:gd name="connsiteX4" fmla="*/ 93933 w 100322"/>
                <a:gd name="connsiteY4" fmla="*/ 12768 h 12767"/>
                <a:gd name="connsiteX5" fmla="*/ 100322 w 100322"/>
                <a:gd name="connsiteY5" fmla="*/ 6384 h 12767"/>
                <a:gd name="connsiteX6" fmla="*/ 93933 w 100322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322" h="12767">
                  <a:moveTo>
                    <a:pt x="93933" y="0"/>
                  </a:move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93933" y="12768"/>
                  </a:lnTo>
                  <a:cubicBezTo>
                    <a:pt x="97766" y="12768"/>
                    <a:pt x="100322" y="10214"/>
                    <a:pt x="100322" y="6384"/>
                  </a:cubicBezTo>
                  <a:cubicBezTo>
                    <a:pt x="100322" y="2553"/>
                    <a:pt x="97766" y="0"/>
                    <a:pt x="93933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8" name="Graphic 4">
            <a:extLst>
              <a:ext uri="{FF2B5EF4-FFF2-40B4-BE49-F238E27FC236}">
                <a16:creationId xmlns:a16="http://schemas.microsoft.com/office/drawing/2014/main" id="{A305EDFD-F18D-48A6-8337-C30BC3A1D31C}"/>
              </a:ext>
            </a:extLst>
          </p:cNvPr>
          <p:cNvGrpSpPr/>
          <p:nvPr/>
        </p:nvGrpSpPr>
        <p:grpSpPr>
          <a:xfrm>
            <a:off x="130983" y="4546128"/>
            <a:ext cx="457200" cy="457200"/>
            <a:chOff x="467743" y="4308712"/>
            <a:chExt cx="361670" cy="361333"/>
          </a:xfrm>
          <a:solidFill>
            <a:schemeClr val="bg1"/>
          </a:solidFill>
        </p:grpSpPr>
        <p:sp>
          <p:nvSpPr>
            <p:cNvPr id="29" name="Graphic 4">
              <a:extLst>
                <a:ext uri="{FF2B5EF4-FFF2-40B4-BE49-F238E27FC236}">
                  <a16:creationId xmlns:a16="http://schemas.microsoft.com/office/drawing/2014/main" id="{4EC00ABA-146D-4F8C-B690-A83152F01E16}"/>
                </a:ext>
              </a:extLst>
            </p:cNvPr>
            <p:cNvSpPr/>
            <p:nvPr/>
          </p:nvSpPr>
          <p:spPr>
            <a:xfrm>
              <a:off x="467743" y="4308712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4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7 h 361333"/>
                <a:gd name="connsiteX8" fmla="*/ 348891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4"/>
                    <a:pt x="180835" y="361334"/>
                  </a:cubicBezTo>
                  <a:cubicBezTo>
                    <a:pt x="280518" y="361334"/>
                    <a:pt x="361670" y="280257"/>
                    <a:pt x="361670" y="180667"/>
                  </a:cubicBez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8"/>
                    <a:pt x="88181" y="13407"/>
                    <a:pt x="180835" y="13407"/>
                  </a:cubicBezTo>
                  <a:cubicBezTo>
                    <a:pt x="273489" y="13407"/>
                    <a:pt x="348891" y="88738"/>
                    <a:pt x="348891" y="181305"/>
                  </a:cubicBezTo>
                  <a:cubicBezTo>
                    <a:pt x="348891" y="273234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Graphic 4">
              <a:extLst>
                <a:ext uri="{FF2B5EF4-FFF2-40B4-BE49-F238E27FC236}">
                  <a16:creationId xmlns:a16="http://schemas.microsoft.com/office/drawing/2014/main" id="{4AC5FE21-BF9F-4796-A680-39149C51B144}"/>
                </a:ext>
              </a:extLst>
            </p:cNvPr>
            <p:cNvSpPr/>
            <p:nvPr/>
          </p:nvSpPr>
          <p:spPr>
            <a:xfrm>
              <a:off x="538910" y="4380372"/>
              <a:ext cx="217740" cy="217534"/>
            </a:xfrm>
            <a:custGeom>
              <a:avLst/>
              <a:gdLst>
                <a:gd name="connsiteX0" fmla="*/ 211907 w 217740"/>
                <a:gd name="connsiteY0" fmla="*/ 91770 h 217534"/>
                <a:gd name="connsiteX1" fmla="*/ 55993 w 217740"/>
                <a:gd name="connsiteY1" fmla="*/ 91770 h 217534"/>
                <a:gd name="connsiteX2" fmla="*/ 72607 w 217740"/>
                <a:gd name="connsiteY2" fmla="*/ 86024 h 217534"/>
                <a:gd name="connsiteX3" fmla="*/ 73246 w 217740"/>
                <a:gd name="connsiteY3" fmla="*/ 86024 h 217534"/>
                <a:gd name="connsiteX4" fmla="*/ 126282 w 217740"/>
                <a:gd name="connsiteY4" fmla="*/ 68149 h 217534"/>
                <a:gd name="connsiteX5" fmla="*/ 127560 w 217740"/>
                <a:gd name="connsiteY5" fmla="*/ 67510 h 217534"/>
                <a:gd name="connsiteX6" fmla="*/ 179319 w 217740"/>
                <a:gd name="connsiteY6" fmla="*/ 49635 h 217534"/>
                <a:gd name="connsiteX7" fmla="*/ 181236 w 217740"/>
                <a:gd name="connsiteY7" fmla="*/ 48997 h 217534"/>
                <a:gd name="connsiteX8" fmla="*/ 197849 w 217740"/>
                <a:gd name="connsiteY8" fmla="*/ 43251 h 217534"/>
                <a:gd name="connsiteX9" fmla="*/ 201683 w 217740"/>
                <a:gd name="connsiteY9" fmla="*/ 34952 h 217534"/>
                <a:gd name="connsiteX10" fmla="*/ 191459 w 217740"/>
                <a:gd name="connsiteY10" fmla="*/ 4309 h 217534"/>
                <a:gd name="connsiteX11" fmla="*/ 188264 w 217740"/>
                <a:gd name="connsiteY11" fmla="*/ 479 h 217534"/>
                <a:gd name="connsiteX12" fmla="*/ 183153 w 217740"/>
                <a:gd name="connsiteY12" fmla="*/ 479 h 217534"/>
                <a:gd name="connsiteX13" fmla="*/ 4234 w 217740"/>
                <a:gd name="connsiteY13" fmla="*/ 61765 h 217534"/>
                <a:gd name="connsiteX14" fmla="*/ 400 w 217740"/>
                <a:gd name="connsiteY14" fmla="*/ 70064 h 217534"/>
                <a:gd name="connsiteX15" fmla="*/ 10624 w 217740"/>
                <a:gd name="connsiteY15" fmla="*/ 99430 h 217534"/>
                <a:gd name="connsiteX16" fmla="*/ 10624 w 217740"/>
                <a:gd name="connsiteY16" fmla="*/ 211150 h 217534"/>
                <a:gd name="connsiteX17" fmla="*/ 17014 w 217740"/>
                <a:gd name="connsiteY17" fmla="*/ 217534 h 217534"/>
                <a:gd name="connsiteX18" fmla="*/ 211268 w 217740"/>
                <a:gd name="connsiteY18" fmla="*/ 217534 h 217534"/>
                <a:gd name="connsiteX19" fmla="*/ 217658 w 217740"/>
                <a:gd name="connsiteY19" fmla="*/ 211150 h 217534"/>
                <a:gd name="connsiteX20" fmla="*/ 217658 w 217740"/>
                <a:gd name="connsiteY20" fmla="*/ 98154 h 217534"/>
                <a:gd name="connsiteX21" fmla="*/ 211907 w 217740"/>
                <a:gd name="connsiteY21" fmla="*/ 91770 h 217534"/>
                <a:gd name="connsiteX22" fmla="*/ 205517 w 217740"/>
                <a:gd name="connsiteY22" fmla="*/ 124328 h 217534"/>
                <a:gd name="connsiteX23" fmla="*/ 190181 w 217740"/>
                <a:gd name="connsiteY23" fmla="*/ 124328 h 217534"/>
                <a:gd name="connsiteX24" fmla="*/ 170373 w 217740"/>
                <a:gd name="connsiteY24" fmla="*/ 104538 h 217534"/>
                <a:gd name="connsiteX25" fmla="*/ 204878 w 217740"/>
                <a:gd name="connsiteY25" fmla="*/ 104538 h 217534"/>
                <a:gd name="connsiteX26" fmla="*/ 205517 w 217740"/>
                <a:gd name="connsiteY26" fmla="*/ 124328 h 217534"/>
                <a:gd name="connsiteX27" fmla="*/ 205517 w 217740"/>
                <a:gd name="connsiteY27" fmla="*/ 124328 h 217534"/>
                <a:gd name="connsiteX28" fmla="*/ 133950 w 217740"/>
                <a:gd name="connsiteY28" fmla="*/ 124328 h 217534"/>
                <a:gd name="connsiteX29" fmla="*/ 114141 w 217740"/>
                <a:gd name="connsiteY29" fmla="*/ 104538 h 217534"/>
                <a:gd name="connsiteX30" fmla="*/ 152481 w 217740"/>
                <a:gd name="connsiteY30" fmla="*/ 104538 h 217534"/>
                <a:gd name="connsiteX31" fmla="*/ 172290 w 217740"/>
                <a:gd name="connsiteY31" fmla="*/ 124328 h 217534"/>
                <a:gd name="connsiteX32" fmla="*/ 133950 w 217740"/>
                <a:gd name="connsiteY32" fmla="*/ 124328 h 217534"/>
                <a:gd name="connsiteX33" fmla="*/ 77080 w 217740"/>
                <a:gd name="connsiteY33" fmla="*/ 124328 h 217534"/>
                <a:gd name="connsiteX34" fmla="*/ 57271 w 217740"/>
                <a:gd name="connsiteY34" fmla="*/ 104538 h 217534"/>
                <a:gd name="connsiteX35" fmla="*/ 95610 w 217740"/>
                <a:gd name="connsiteY35" fmla="*/ 104538 h 217534"/>
                <a:gd name="connsiteX36" fmla="*/ 115419 w 217740"/>
                <a:gd name="connsiteY36" fmla="*/ 124328 h 217534"/>
                <a:gd name="connsiteX37" fmla="*/ 77080 w 217740"/>
                <a:gd name="connsiteY37" fmla="*/ 124328 h 217534"/>
                <a:gd name="connsiteX38" fmla="*/ 24043 w 217740"/>
                <a:gd name="connsiteY38" fmla="*/ 104538 h 217534"/>
                <a:gd name="connsiteX39" fmla="*/ 39379 w 217740"/>
                <a:gd name="connsiteY39" fmla="*/ 104538 h 217534"/>
                <a:gd name="connsiteX40" fmla="*/ 59188 w 217740"/>
                <a:gd name="connsiteY40" fmla="*/ 124328 h 217534"/>
                <a:gd name="connsiteX41" fmla="*/ 24682 w 217740"/>
                <a:gd name="connsiteY41" fmla="*/ 124328 h 217534"/>
                <a:gd name="connsiteX42" fmla="*/ 24043 w 217740"/>
                <a:gd name="connsiteY42" fmla="*/ 104538 h 217534"/>
                <a:gd name="connsiteX43" fmla="*/ 24043 w 217740"/>
                <a:gd name="connsiteY43" fmla="*/ 104538 h 217534"/>
                <a:gd name="connsiteX44" fmla="*/ 83470 w 217740"/>
                <a:gd name="connsiteY44" fmla="*/ 48359 h 217534"/>
                <a:gd name="connsiteX45" fmla="*/ 108390 w 217740"/>
                <a:gd name="connsiteY45" fmla="*/ 60488 h 217534"/>
                <a:gd name="connsiteX46" fmla="*/ 71968 w 217740"/>
                <a:gd name="connsiteY46" fmla="*/ 73256 h 217534"/>
                <a:gd name="connsiteX47" fmla="*/ 47047 w 217740"/>
                <a:gd name="connsiteY47" fmla="*/ 61127 h 217534"/>
                <a:gd name="connsiteX48" fmla="*/ 83470 w 217740"/>
                <a:gd name="connsiteY48" fmla="*/ 48359 h 217534"/>
                <a:gd name="connsiteX49" fmla="*/ 137145 w 217740"/>
                <a:gd name="connsiteY49" fmla="*/ 30483 h 217534"/>
                <a:gd name="connsiteX50" fmla="*/ 162066 w 217740"/>
                <a:gd name="connsiteY50" fmla="*/ 42613 h 217534"/>
                <a:gd name="connsiteX51" fmla="*/ 125643 w 217740"/>
                <a:gd name="connsiteY51" fmla="*/ 55381 h 217534"/>
                <a:gd name="connsiteX52" fmla="*/ 100722 w 217740"/>
                <a:gd name="connsiteY52" fmla="*/ 43251 h 217534"/>
                <a:gd name="connsiteX53" fmla="*/ 137145 w 217740"/>
                <a:gd name="connsiteY53" fmla="*/ 30483 h 217534"/>
                <a:gd name="connsiteX54" fmla="*/ 188264 w 217740"/>
                <a:gd name="connsiteY54" fmla="*/ 33037 h 217534"/>
                <a:gd name="connsiteX55" fmla="*/ 178680 w 217740"/>
                <a:gd name="connsiteY55" fmla="*/ 36229 h 217534"/>
                <a:gd name="connsiteX56" fmla="*/ 153759 w 217740"/>
                <a:gd name="connsiteY56" fmla="*/ 24099 h 217534"/>
                <a:gd name="connsiteX57" fmla="*/ 181875 w 217740"/>
                <a:gd name="connsiteY57" fmla="*/ 14524 h 217534"/>
                <a:gd name="connsiteX58" fmla="*/ 188264 w 217740"/>
                <a:gd name="connsiteY58" fmla="*/ 33037 h 217534"/>
                <a:gd name="connsiteX59" fmla="*/ 29794 w 217740"/>
                <a:gd name="connsiteY59" fmla="*/ 66872 h 217534"/>
                <a:gd name="connsiteX60" fmla="*/ 54715 w 217740"/>
                <a:gd name="connsiteY60" fmla="*/ 79002 h 217534"/>
                <a:gd name="connsiteX61" fmla="*/ 22126 w 217740"/>
                <a:gd name="connsiteY61" fmla="*/ 90493 h 217534"/>
                <a:gd name="connsiteX62" fmla="*/ 15736 w 217740"/>
                <a:gd name="connsiteY62" fmla="*/ 71979 h 217534"/>
                <a:gd name="connsiteX63" fmla="*/ 29794 w 217740"/>
                <a:gd name="connsiteY63" fmla="*/ 66872 h 217534"/>
                <a:gd name="connsiteX64" fmla="*/ 24043 w 217740"/>
                <a:gd name="connsiteY64" fmla="*/ 205405 h 217534"/>
                <a:gd name="connsiteX65" fmla="*/ 24043 w 217740"/>
                <a:gd name="connsiteY65" fmla="*/ 137096 h 217534"/>
                <a:gd name="connsiteX66" fmla="*/ 205517 w 217740"/>
                <a:gd name="connsiteY66" fmla="*/ 137096 h 217534"/>
                <a:gd name="connsiteX67" fmla="*/ 205517 w 217740"/>
                <a:gd name="connsiteY67" fmla="*/ 205405 h 217534"/>
                <a:gd name="connsiteX68" fmla="*/ 24043 w 217740"/>
                <a:gd name="connsiteY68" fmla="*/ 205405 h 21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217740" h="217534">
                  <a:moveTo>
                    <a:pt x="211907" y="91770"/>
                  </a:moveTo>
                  <a:lnTo>
                    <a:pt x="55993" y="91770"/>
                  </a:lnTo>
                  <a:lnTo>
                    <a:pt x="72607" y="86024"/>
                  </a:lnTo>
                  <a:lnTo>
                    <a:pt x="73246" y="86024"/>
                  </a:lnTo>
                  <a:lnTo>
                    <a:pt x="126282" y="68149"/>
                  </a:lnTo>
                  <a:cubicBezTo>
                    <a:pt x="126921" y="68149"/>
                    <a:pt x="126921" y="68149"/>
                    <a:pt x="127560" y="67510"/>
                  </a:cubicBezTo>
                  <a:lnTo>
                    <a:pt x="179319" y="49635"/>
                  </a:lnTo>
                  <a:cubicBezTo>
                    <a:pt x="179958" y="49635"/>
                    <a:pt x="180597" y="48997"/>
                    <a:pt x="181236" y="48997"/>
                  </a:cubicBezTo>
                  <a:lnTo>
                    <a:pt x="197849" y="43251"/>
                  </a:lnTo>
                  <a:cubicBezTo>
                    <a:pt x="201044" y="41975"/>
                    <a:pt x="202961" y="38783"/>
                    <a:pt x="201683" y="34952"/>
                  </a:cubicBezTo>
                  <a:lnTo>
                    <a:pt x="191459" y="4309"/>
                  </a:lnTo>
                  <a:cubicBezTo>
                    <a:pt x="190820" y="2394"/>
                    <a:pt x="189542" y="1117"/>
                    <a:pt x="188264" y="479"/>
                  </a:cubicBezTo>
                  <a:cubicBezTo>
                    <a:pt x="186986" y="-160"/>
                    <a:pt x="185070" y="-160"/>
                    <a:pt x="183153" y="479"/>
                  </a:cubicBezTo>
                  <a:lnTo>
                    <a:pt x="4234" y="61765"/>
                  </a:lnTo>
                  <a:cubicBezTo>
                    <a:pt x="1039" y="63042"/>
                    <a:pt x="-878" y="66234"/>
                    <a:pt x="400" y="70064"/>
                  </a:cubicBezTo>
                  <a:lnTo>
                    <a:pt x="10624" y="99430"/>
                  </a:lnTo>
                  <a:lnTo>
                    <a:pt x="10624" y="211150"/>
                  </a:lnTo>
                  <a:cubicBezTo>
                    <a:pt x="10624" y="214981"/>
                    <a:pt x="13180" y="217534"/>
                    <a:pt x="17014" y="217534"/>
                  </a:cubicBezTo>
                  <a:lnTo>
                    <a:pt x="211268" y="217534"/>
                  </a:lnTo>
                  <a:cubicBezTo>
                    <a:pt x="215102" y="217534"/>
                    <a:pt x="217658" y="214981"/>
                    <a:pt x="217658" y="211150"/>
                  </a:cubicBezTo>
                  <a:lnTo>
                    <a:pt x="217658" y="98154"/>
                  </a:lnTo>
                  <a:cubicBezTo>
                    <a:pt x="218297" y="94962"/>
                    <a:pt x="215102" y="91770"/>
                    <a:pt x="211907" y="91770"/>
                  </a:cubicBezTo>
                  <a:close/>
                  <a:moveTo>
                    <a:pt x="205517" y="124328"/>
                  </a:moveTo>
                  <a:lnTo>
                    <a:pt x="190181" y="124328"/>
                  </a:lnTo>
                  <a:lnTo>
                    <a:pt x="170373" y="104538"/>
                  </a:lnTo>
                  <a:lnTo>
                    <a:pt x="204878" y="104538"/>
                  </a:lnTo>
                  <a:lnTo>
                    <a:pt x="205517" y="124328"/>
                  </a:lnTo>
                  <a:lnTo>
                    <a:pt x="205517" y="124328"/>
                  </a:lnTo>
                  <a:close/>
                  <a:moveTo>
                    <a:pt x="133950" y="124328"/>
                  </a:moveTo>
                  <a:lnTo>
                    <a:pt x="114141" y="104538"/>
                  </a:lnTo>
                  <a:lnTo>
                    <a:pt x="152481" y="104538"/>
                  </a:lnTo>
                  <a:lnTo>
                    <a:pt x="172290" y="124328"/>
                  </a:lnTo>
                  <a:lnTo>
                    <a:pt x="133950" y="124328"/>
                  </a:lnTo>
                  <a:close/>
                  <a:moveTo>
                    <a:pt x="77080" y="124328"/>
                  </a:moveTo>
                  <a:lnTo>
                    <a:pt x="57271" y="104538"/>
                  </a:lnTo>
                  <a:lnTo>
                    <a:pt x="95610" y="104538"/>
                  </a:lnTo>
                  <a:lnTo>
                    <a:pt x="115419" y="124328"/>
                  </a:lnTo>
                  <a:lnTo>
                    <a:pt x="77080" y="124328"/>
                  </a:lnTo>
                  <a:close/>
                  <a:moveTo>
                    <a:pt x="24043" y="104538"/>
                  </a:moveTo>
                  <a:lnTo>
                    <a:pt x="39379" y="104538"/>
                  </a:lnTo>
                  <a:lnTo>
                    <a:pt x="59188" y="124328"/>
                  </a:lnTo>
                  <a:lnTo>
                    <a:pt x="24682" y="124328"/>
                  </a:lnTo>
                  <a:lnTo>
                    <a:pt x="24043" y="104538"/>
                  </a:lnTo>
                  <a:lnTo>
                    <a:pt x="24043" y="104538"/>
                  </a:lnTo>
                  <a:close/>
                  <a:moveTo>
                    <a:pt x="83470" y="48359"/>
                  </a:moveTo>
                  <a:lnTo>
                    <a:pt x="108390" y="60488"/>
                  </a:lnTo>
                  <a:lnTo>
                    <a:pt x="71968" y="73256"/>
                  </a:lnTo>
                  <a:lnTo>
                    <a:pt x="47047" y="61127"/>
                  </a:lnTo>
                  <a:lnTo>
                    <a:pt x="83470" y="48359"/>
                  </a:lnTo>
                  <a:close/>
                  <a:moveTo>
                    <a:pt x="137145" y="30483"/>
                  </a:moveTo>
                  <a:lnTo>
                    <a:pt x="162066" y="42613"/>
                  </a:lnTo>
                  <a:lnTo>
                    <a:pt x="125643" y="55381"/>
                  </a:lnTo>
                  <a:lnTo>
                    <a:pt x="100722" y="43251"/>
                  </a:lnTo>
                  <a:lnTo>
                    <a:pt x="137145" y="30483"/>
                  </a:lnTo>
                  <a:close/>
                  <a:moveTo>
                    <a:pt x="188264" y="33037"/>
                  </a:moveTo>
                  <a:lnTo>
                    <a:pt x="178680" y="36229"/>
                  </a:lnTo>
                  <a:lnTo>
                    <a:pt x="153759" y="24099"/>
                  </a:lnTo>
                  <a:lnTo>
                    <a:pt x="181875" y="14524"/>
                  </a:lnTo>
                  <a:lnTo>
                    <a:pt x="188264" y="33037"/>
                  </a:lnTo>
                  <a:close/>
                  <a:moveTo>
                    <a:pt x="29794" y="66872"/>
                  </a:moveTo>
                  <a:lnTo>
                    <a:pt x="54715" y="79002"/>
                  </a:lnTo>
                  <a:lnTo>
                    <a:pt x="22126" y="90493"/>
                  </a:lnTo>
                  <a:lnTo>
                    <a:pt x="15736" y="71979"/>
                  </a:lnTo>
                  <a:lnTo>
                    <a:pt x="29794" y="66872"/>
                  </a:lnTo>
                  <a:close/>
                  <a:moveTo>
                    <a:pt x="24043" y="205405"/>
                  </a:moveTo>
                  <a:lnTo>
                    <a:pt x="24043" y="137096"/>
                  </a:lnTo>
                  <a:lnTo>
                    <a:pt x="205517" y="137096"/>
                  </a:lnTo>
                  <a:lnTo>
                    <a:pt x="205517" y="205405"/>
                  </a:lnTo>
                  <a:lnTo>
                    <a:pt x="24043" y="20540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1" name="Graphic 4">
            <a:extLst>
              <a:ext uri="{FF2B5EF4-FFF2-40B4-BE49-F238E27FC236}">
                <a16:creationId xmlns:a16="http://schemas.microsoft.com/office/drawing/2014/main" id="{D0782AFE-A00B-4DA5-8F94-7892C5DD2939}"/>
              </a:ext>
            </a:extLst>
          </p:cNvPr>
          <p:cNvGrpSpPr/>
          <p:nvPr/>
        </p:nvGrpSpPr>
        <p:grpSpPr>
          <a:xfrm>
            <a:off x="130983" y="1733805"/>
            <a:ext cx="457200" cy="457200"/>
            <a:chOff x="5708769" y="4792617"/>
            <a:chExt cx="361670" cy="361333"/>
          </a:xfrm>
          <a:solidFill>
            <a:schemeClr val="bg1"/>
          </a:solidFill>
        </p:grpSpPr>
        <p:sp>
          <p:nvSpPr>
            <p:cNvPr id="32" name="Graphic 4">
              <a:extLst>
                <a:ext uri="{FF2B5EF4-FFF2-40B4-BE49-F238E27FC236}">
                  <a16:creationId xmlns:a16="http://schemas.microsoft.com/office/drawing/2014/main" id="{E06284FF-66A6-4150-B720-F242C68AC4A5}"/>
                </a:ext>
              </a:extLst>
            </p:cNvPr>
            <p:cNvSpPr/>
            <p:nvPr/>
          </p:nvSpPr>
          <p:spPr>
            <a:xfrm>
              <a:off x="5708769" y="4792617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4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7 h 361333"/>
                <a:gd name="connsiteX8" fmla="*/ 348890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4"/>
                    <a:pt x="180835" y="361334"/>
                  </a:cubicBezTo>
                  <a:cubicBezTo>
                    <a:pt x="280518" y="361334"/>
                    <a:pt x="361670" y="280257"/>
                    <a:pt x="361670" y="180667"/>
                  </a:cubicBezTo>
                  <a:cubicBezTo>
                    <a:pt x="361670" y="81077"/>
                    <a:pt x="281157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8"/>
                    <a:pt x="88181" y="13407"/>
                    <a:pt x="180835" y="13407"/>
                  </a:cubicBezTo>
                  <a:cubicBezTo>
                    <a:pt x="273489" y="13407"/>
                    <a:pt x="348890" y="88738"/>
                    <a:pt x="348890" y="181305"/>
                  </a:cubicBezTo>
                  <a:cubicBezTo>
                    <a:pt x="348890" y="273873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Graphic 4">
              <a:extLst>
                <a:ext uri="{FF2B5EF4-FFF2-40B4-BE49-F238E27FC236}">
                  <a16:creationId xmlns:a16="http://schemas.microsoft.com/office/drawing/2014/main" id="{67231AD0-2554-435D-BF43-F12C320AACCE}"/>
                </a:ext>
              </a:extLst>
            </p:cNvPr>
            <p:cNvSpPr/>
            <p:nvPr/>
          </p:nvSpPr>
          <p:spPr>
            <a:xfrm>
              <a:off x="5782893" y="4888351"/>
              <a:ext cx="106072" cy="170478"/>
            </a:xfrm>
            <a:custGeom>
              <a:avLst/>
              <a:gdLst>
                <a:gd name="connsiteX0" fmla="*/ 102239 w 106072"/>
                <a:gd name="connsiteY0" fmla="*/ 664 h 170478"/>
                <a:gd name="connsiteX1" fmla="*/ 95210 w 106072"/>
                <a:gd name="connsiteY1" fmla="*/ 1941 h 170478"/>
                <a:gd name="connsiteX2" fmla="*/ 39618 w 106072"/>
                <a:gd name="connsiteY2" fmla="*/ 50459 h 170478"/>
                <a:gd name="connsiteX3" fmla="*/ 6390 w 106072"/>
                <a:gd name="connsiteY3" fmla="*/ 50459 h 170478"/>
                <a:gd name="connsiteX4" fmla="*/ 0 w 106072"/>
                <a:gd name="connsiteY4" fmla="*/ 56843 h 170478"/>
                <a:gd name="connsiteX5" fmla="*/ 0 w 106072"/>
                <a:gd name="connsiteY5" fmla="*/ 114299 h 170478"/>
                <a:gd name="connsiteX6" fmla="*/ 6390 w 106072"/>
                <a:gd name="connsiteY6" fmla="*/ 120683 h 170478"/>
                <a:gd name="connsiteX7" fmla="*/ 39618 w 106072"/>
                <a:gd name="connsiteY7" fmla="*/ 120683 h 170478"/>
                <a:gd name="connsiteX8" fmla="*/ 95210 w 106072"/>
                <a:gd name="connsiteY8" fmla="*/ 169201 h 170478"/>
                <a:gd name="connsiteX9" fmla="*/ 99683 w 106072"/>
                <a:gd name="connsiteY9" fmla="*/ 170478 h 170478"/>
                <a:gd name="connsiteX10" fmla="*/ 102239 w 106072"/>
                <a:gd name="connsiteY10" fmla="*/ 169840 h 170478"/>
                <a:gd name="connsiteX11" fmla="*/ 106073 w 106072"/>
                <a:gd name="connsiteY11" fmla="*/ 164094 h 170478"/>
                <a:gd name="connsiteX12" fmla="*/ 106073 w 106072"/>
                <a:gd name="connsiteY12" fmla="*/ 6410 h 170478"/>
                <a:gd name="connsiteX13" fmla="*/ 102239 w 106072"/>
                <a:gd name="connsiteY13" fmla="*/ 664 h 170478"/>
                <a:gd name="connsiteX14" fmla="*/ 93293 w 106072"/>
                <a:gd name="connsiteY14" fmla="*/ 150049 h 170478"/>
                <a:gd name="connsiteX15" fmla="*/ 46646 w 106072"/>
                <a:gd name="connsiteY15" fmla="*/ 109192 h 170478"/>
                <a:gd name="connsiteX16" fmla="*/ 42173 w 106072"/>
                <a:gd name="connsiteY16" fmla="*/ 107915 h 170478"/>
                <a:gd name="connsiteX17" fmla="*/ 12780 w 106072"/>
                <a:gd name="connsiteY17" fmla="*/ 107915 h 170478"/>
                <a:gd name="connsiteX18" fmla="*/ 12780 w 106072"/>
                <a:gd name="connsiteY18" fmla="*/ 63227 h 170478"/>
                <a:gd name="connsiteX19" fmla="*/ 42173 w 106072"/>
                <a:gd name="connsiteY19" fmla="*/ 63227 h 170478"/>
                <a:gd name="connsiteX20" fmla="*/ 46646 w 106072"/>
                <a:gd name="connsiteY20" fmla="*/ 61950 h 170478"/>
                <a:gd name="connsiteX21" fmla="*/ 93293 w 106072"/>
                <a:gd name="connsiteY21" fmla="*/ 21093 h 170478"/>
                <a:gd name="connsiteX22" fmla="*/ 93293 w 106072"/>
                <a:gd name="connsiteY22" fmla="*/ 150049 h 170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6072" h="170478">
                  <a:moveTo>
                    <a:pt x="102239" y="664"/>
                  </a:moveTo>
                  <a:cubicBezTo>
                    <a:pt x="99683" y="-613"/>
                    <a:pt x="97127" y="26"/>
                    <a:pt x="95210" y="1941"/>
                  </a:cubicBezTo>
                  <a:lnTo>
                    <a:pt x="39618" y="50459"/>
                  </a:lnTo>
                  <a:lnTo>
                    <a:pt x="6390" y="50459"/>
                  </a:lnTo>
                  <a:cubicBezTo>
                    <a:pt x="2556" y="50459"/>
                    <a:pt x="0" y="53013"/>
                    <a:pt x="0" y="56843"/>
                  </a:cubicBezTo>
                  <a:lnTo>
                    <a:pt x="0" y="114299"/>
                  </a:lnTo>
                  <a:cubicBezTo>
                    <a:pt x="0" y="118129"/>
                    <a:pt x="2556" y="120683"/>
                    <a:pt x="6390" y="120683"/>
                  </a:cubicBezTo>
                  <a:lnTo>
                    <a:pt x="39618" y="120683"/>
                  </a:lnTo>
                  <a:lnTo>
                    <a:pt x="95210" y="169201"/>
                  </a:lnTo>
                  <a:cubicBezTo>
                    <a:pt x="96488" y="170478"/>
                    <a:pt x="97766" y="170478"/>
                    <a:pt x="99683" y="170478"/>
                  </a:cubicBezTo>
                  <a:cubicBezTo>
                    <a:pt x="100322" y="170478"/>
                    <a:pt x="101600" y="170478"/>
                    <a:pt x="102239" y="169840"/>
                  </a:cubicBezTo>
                  <a:cubicBezTo>
                    <a:pt x="104795" y="168563"/>
                    <a:pt x="106073" y="166648"/>
                    <a:pt x="106073" y="164094"/>
                  </a:cubicBezTo>
                  <a:lnTo>
                    <a:pt x="106073" y="6410"/>
                  </a:lnTo>
                  <a:cubicBezTo>
                    <a:pt x="106073" y="3856"/>
                    <a:pt x="104795" y="1941"/>
                    <a:pt x="102239" y="664"/>
                  </a:cubicBezTo>
                  <a:close/>
                  <a:moveTo>
                    <a:pt x="93293" y="150049"/>
                  </a:moveTo>
                  <a:lnTo>
                    <a:pt x="46646" y="109192"/>
                  </a:lnTo>
                  <a:cubicBezTo>
                    <a:pt x="45368" y="107915"/>
                    <a:pt x="44091" y="107915"/>
                    <a:pt x="42173" y="107915"/>
                  </a:cubicBezTo>
                  <a:lnTo>
                    <a:pt x="12780" y="107915"/>
                  </a:lnTo>
                  <a:lnTo>
                    <a:pt x="12780" y="63227"/>
                  </a:lnTo>
                  <a:lnTo>
                    <a:pt x="42173" y="63227"/>
                  </a:lnTo>
                  <a:cubicBezTo>
                    <a:pt x="43451" y="63227"/>
                    <a:pt x="45368" y="62589"/>
                    <a:pt x="46646" y="61950"/>
                  </a:cubicBezTo>
                  <a:lnTo>
                    <a:pt x="93293" y="21093"/>
                  </a:lnTo>
                  <a:lnTo>
                    <a:pt x="93293" y="15004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Graphic 4">
              <a:extLst>
                <a:ext uri="{FF2B5EF4-FFF2-40B4-BE49-F238E27FC236}">
                  <a16:creationId xmlns:a16="http://schemas.microsoft.com/office/drawing/2014/main" id="{98F63FAD-5801-45B0-9DA0-2C72C5DC5009}"/>
                </a:ext>
              </a:extLst>
            </p:cNvPr>
            <p:cNvSpPr/>
            <p:nvPr/>
          </p:nvSpPr>
          <p:spPr>
            <a:xfrm>
              <a:off x="5906508" y="4953195"/>
              <a:ext cx="18241" cy="41794"/>
            </a:xfrm>
            <a:custGeom>
              <a:avLst/>
              <a:gdLst>
                <a:gd name="connsiteX0" fmla="*/ 2266 w 18241"/>
                <a:gd name="connsiteY0" fmla="*/ 1576 h 41794"/>
                <a:gd name="connsiteX1" fmla="*/ 1627 w 18241"/>
                <a:gd name="connsiteY1" fmla="*/ 10513 h 41794"/>
                <a:gd name="connsiteX2" fmla="*/ 5461 w 18241"/>
                <a:gd name="connsiteY2" fmla="*/ 20728 h 41794"/>
                <a:gd name="connsiteX3" fmla="*/ 1627 w 18241"/>
                <a:gd name="connsiteY3" fmla="*/ 30942 h 41794"/>
                <a:gd name="connsiteX4" fmla="*/ 2266 w 18241"/>
                <a:gd name="connsiteY4" fmla="*/ 39880 h 41794"/>
                <a:gd name="connsiteX5" fmla="*/ 6739 w 18241"/>
                <a:gd name="connsiteY5" fmla="*/ 41795 h 41794"/>
                <a:gd name="connsiteX6" fmla="*/ 11212 w 18241"/>
                <a:gd name="connsiteY6" fmla="*/ 39880 h 41794"/>
                <a:gd name="connsiteX7" fmla="*/ 18241 w 18241"/>
                <a:gd name="connsiteY7" fmla="*/ 21366 h 41794"/>
                <a:gd name="connsiteX8" fmla="*/ 11212 w 18241"/>
                <a:gd name="connsiteY8" fmla="*/ 2853 h 41794"/>
                <a:gd name="connsiteX9" fmla="*/ 2266 w 18241"/>
                <a:gd name="connsiteY9" fmla="*/ 1576 h 41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41" h="41794">
                  <a:moveTo>
                    <a:pt x="2266" y="1576"/>
                  </a:moveTo>
                  <a:cubicBezTo>
                    <a:pt x="-290" y="4129"/>
                    <a:pt x="-290" y="7960"/>
                    <a:pt x="1627" y="10513"/>
                  </a:cubicBezTo>
                  <a:cubicBezTo>
                    <a:pt x="4183" y="13067"/>
                    <a:pt x="5461" y="16897"/>
                    <a:pt x="5461" y="20728"/>
                  </a:cubicBezTo>
                  <a:cubicBezTo>
                    <a:pt x="5461" y="24558"/>
                    <a:pt x="4183" y="27750"/>
                    <a:pt x="1627" y="30942"/>
                  </a:cubicBezTo>
                  <a:cubicBezTo>
                    <a:pt x="-929" y="33496"/>
                    <a:pt x="-290" y="37326"/>
                    <a:pt x="2266" y="39880"/>
                  </a:cubicBezTo>
                  <a:cubicBezTo>
                    <a:pt x="3544" y="41156"/>
                    <a:pt x="4822" y="41795"/>
                    <a:pt x="6739" y="41795"/>
                  </a:cubicBezTo>
                  <a:cubicBezTo>
                    <a:pt x="8656" y="41795"/>
                    <a:pt x="9934" y="41156"/>
                    <a:pt x="11212" y="39880"/>
                  </a:cubicBezTo>
                  <a:cubicBezTo>
                    <a:pt x="15685" y="34773"/>
                    <a:pt x="18241" y="28389"/>
                    <a:pt x="18241" y="21366"/>
                  </a:cubicBezTo>
                  <a:cubicBezTo>
                    <a:pt x="18241" y="14344"/>
                    <a:pt x="15685" y="7960"/>
                    <a:pt x="11212" y="2853"/>
                  </a:cubicBezTo>
                  <a:cubicBezTo>
                    <a:pt x="8656" y="-339"/>
                    <a:pt x="4822" y="-978"/>
                    <a:pt x="2266" y="157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Graphic 4">
              <a:extLst>
                <a:ext uri="{FF2B5EF4-FFF2-40B4-BE49-F238E27FC236}">
                  <a16:creationId xmlns:a16="http://schemas.microsoft.com/office/drawing/2014/main" id="{5F51BFD3-4A1E-4BF9-8A97-37BC2E498138}"/>
                </a:ext>
              </a:extLst>
            </p:cNvPr>
            <p:cNvSpPr/>
            <p:nvPr/>
          </p:nvSpPr>
          <p:spPr>
            <a:xfrm>
              <a:off x="5928234" y="4924417"/>
              <a:ext cx="32938" cy="98662"/>
            </a:xfrm>
            <a:custGeom>
              <a:avLst/>
              <a:gdLst>
                <a:gd name="connsiteX0" fmla="*/ 10573 w 32938"/>
                <a:gd name="connsiteY0" fmla="*/ 1626 h 98662"/>
                <a:gd name="connsiteX1" fmla="*/ 1627 w 32938"/>
                <a:gd name="connsiteY1" fmla="*/ 2264 h 98662"/>
                <a:gd name="connsiteX2" fmla="*/ 2266 w 32938"/>
                <a:gd name="connsiteY2" fmla="*/ 11202 h 98662"/>
                <a:gd name="connsiteX3" fmla="*/ 19519 w 32938"/>
                <a:gd name="connsiteY3" fmla="*/ 49506 h 98662"/>
                <a:gd name="connsiteX4" fmla="*/ 2266 w 32938"/>
                <a:gd name="connsiteY4" fmla="*/ 87809 h 98662"/>
                <a:gd name="connsiteX5" fmla="*/ 1627 w 32938"/>
                <a:gd name="connsiteY5" fmla="*/ 96747 h 98662"/>
                <a:gd name="connsiteX6" fmla="*/ 6739 w 32938"/>
                <a:gd name="connsiteY6" fmla="*/ 98662 h 98662"/>
                <a:gd name="connsiteX7" fmla="*/ 11212 w 32938"/>
                <a:gd name="connsiteY7" fmla="*/ 97385 h 98662"/>
                <a:gd name="connsiteX8" fmla="*/ 32938 w 32938"/>
                <a:gd name="connsiteY8" fmla="*/ 49506 h 98662"/>
                <a:gd name="connsiteX9" fmla="*/ 10573 w 32938"/>
                <a:gd name="connsiteY9" fmla="*/ 1626 h 98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938" h="98662">
                  <a:moveTo>
                    <a:pt x="10573" y="1626"/>
                  </a:moveTo>
                  <a:cubicBezTo>
                    <a:pt x="8017" y="-928"/>
                    <a:pt x="4183" y="-289"/>
                    <a:pt x="1627" y="2264"/>
                  </a:cubicBezTo>
                  <a:cubicBezTo>
                    <a:pt x="-929" y="4818"/>
                    <a:pt x="-290" y="8648"/>
                    <a:pt x="2266" y="11202"/>
                  </a:cubicBezTo>
                  <a:cubicBezTo>
                    <a:pt x="13129" y="20778"/>
                    <a:pt x="19519" y="34822"/>
                    <a:pt x="19519" y="49506"/>
                  </a:cubicBezTo>
                  <a:cubicBezTo>
                    <a:pt x="19519" y="64189"/>
                    <a:pt x="13129" y="78233"/>
                    <a:pt x="2266" y="87809"/>
                  </a:cubicBezTo>
                  <a:cubicBezTo>
                    <a:pt x="-290" y="90363"/>
                    <a:pt x="-929" y="94193"/>
                    <a:pt x="1627" y="96747"/>
                  </a:cubicBezTo>
                  <a:cubicBezTo>
                    <a:pt x="2905" y="98024"/>
                    <a:pt x="4822" y="98662"/>
                    <a:pt x="6739" y="98662"/>
                  </a:cubicBezTo>
                  <a:cubicBezTo>
                    <a:pt x="8017" y="98662"/>
                    <a:pt x="9934" y="98024"/>
                    <a:pt x="11212" y="97385"/>
                  </a:cubicBezTo>
                  <a:cubicBezTo>
                    <a:pt x="24631" y="85256"/>
                    <a:pt x="32938" y="68019"/>
                    <a:pt x="32938" y="49506"/>
                  </a:cubicBezTo>
                  <a:cubicBezTo>
                    <a:pt x="32938" y="30992"/>
                    <a:pt x="24631" y="13755"/>
                    <a:pt x="10573" y="162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Graphic 4">
              <a:extLst>
                <a:ext uri="{FF2B5EF4-FFF2-40B4-BE49-F238E27FC236}">
                  <a16:creationId xmlns:a16="http://schemas.microsoft.com/office/drawing/2014/main" id="{0D16EC81-EAD4-46BA-BC10-5EBD96FE4EB5}"/>
                </a:ext>
              </a:extLst>
            </p:cNvPr>
            <p:cNvSpPr/>
            <p:nvPr/>
          </p:nvSpPr>
          <p:spPr>
            <a:xfrm>
              <a:off x="5949960" y="4895689"/>
              <a:ext cx="46356" cy="156756"/>
            </a:xfrm>
            <a:custGeom>
              <a:avLst/>
              <a:gdLst>
                <a:gd name="connsiteX0" fmla="*/ 10573 w 46356"/>
                <a:gd name="connsiteY0" fmla="*/ 1626 h 156756"/>
                <a:gd name="connsiteX1" fmla="*/ 1627 w 46356"/>
                <a:gd name="connsiteY1" fmla="*/ 2264 h 156756"/>
                <a:gd name="connsiteX2" fmla="*/ 2266 w 46356"/>
                <a:gd name="connsiteY2" fmla="*/ 11202 h 156756"/>
                <a:gd name="connsiteX3" fmla="*/ 33577 w 46356"/>
                <a:gd name="connsiteY3" fmla="*/ 78233 h 156756"/>
                <a:gd name="connsiteX4" fmla="*/ 2266 w 46356"/>
                <a:gd name="connsiteY4" fmla="*/ 145265 h 156756"/>
                <a:gd name="connsiteX5" fmla="*/ 1627 w 46356"/>
                <a:gd name="connsiteY5" fmla="*/ 154203 h 156756"/>
                <a:gd name="connsiteX6" fmla="*/ 6739 w 46356"/>
                <a:gd name="connsiteY6" fmla="*/ 156756 h 156756"/>
                <a:gd name="connsiteX7" fmla="*/ 10573 w 46356"/>
                <a:gd name="connsiteY7" fmla="*/ 155479 h 156756"/>
                <a:gd name="connsiteX8" fmla="*/ 46357 w 46356"/>
                <a:gd name="connsiteY8" fmla="*/ 78872 h 156756"/>
                <a:gd name="connsiteX9" fmla="*/ 10573 w 46356"/>
                <a:gd name="connsiteY9" fmla="*/ 1626 h 156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356" h="156756">
                  <a:moveTo>
                    <a:pt x="10573" y="1626"/>
                  </a:moveTo>
                  <a:cubicBezTo>
                    <a:pt x="8017" y="-928"/>
                    <a:pt x="3544" y="-289"/>
                    <a:pt x="1627" y="2264"/>
                  </a:cubicBezTo>
                  <a:cubicBezTo>
                    <a:pt x="-929" y="4818"/>
                    <a:pt x="-290" y="9287"/>
                    <a:pt x="2266" y="11202"/>
                  </a:cubicBezTo>
                  <a:cubicBezTo>
                    <a:pt x="22075" y="27800"/>
                    <a:pt x="33577" y="52059"/>
                    <a:pt x="33577" y="78233"/>
                  </a:cubicBezTo>
                  <a:cubicBezTo>
                    <a:pt x="33577" y="104408"/>
                    <a:pt x="22075" y="128667"/>
                    <a:pt x="2266" y="145265"/>
                  </a:cubicBezTo>
                  <a:cubicBezTo>
                    <a:pt x="-290" y="147819"/>
                    <a:pt x="-929" y="151649"/>
                    <a:pt x="1627" y="154203"/>
                  </a:cubicBezTo>
                  <a:cubicBezTo>
                    <a:pt x="2905" y="155479"/>
                    <a:pt x="4822" y="156756"/>
                    <a:pt x="6739" y="156756"/>
                  </a:cubicBezTo>
                  <a:cubicBezTo>
                    <a:pt x="8017" y="156756"/>
                    <a:pt x="9934" y="156118"/>
                    <a:pt x="10573" y="155479"/>
                  </a:cubicBezTo>
                  <a:cubicBezTo>
                    <a:pt x="33577" y="136328"/>
                    <a:pt x="46357" y="108876"/>
                    <a:pt x="46357" y="78872"/>
                  </a:cubicBezTo>
                  <a:cubicBezTo>
                    <a:pt x="46357" y="48229"/>
                    <a:pt x="33577" y="20778"/>
                    <a:pt x="10573" y="162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7" name="Graphic 4">
            <a:extLst>
              <a:ext uri="{FF2B5EF4-FFF2-40B4-BE49-F238E27FC236}">
                <a16:creationId xmlns:a16="http://schemas.microsoft.com/office/drawing/2014/main" id="{CEF368E2-E4EB-4E61-A638-9B5B0777712E}"/>
              </a:ext>
            </a:extLst>
          </p:cNvPr>
          <p:cNvGrpSpPr/>
          <p:nvPr/>
        </p:nvGrpSpPr>
        <p:grpSpPr>
          <a:xfrm>
            <a:off x="130983" y="5266209"/>
            <a:ext cx="457200" cy="457200"/>
            <a:chOff x="5708769" y="918179"/>
            <a:chExt cx="361674" cy="361333"/>
          </a:xfrm>
          <a:solidFill>
            <a:schemeClr val="bg1"/>
          </a:solidFill>
        </p:grpSpPr>
        <p:sp>
          <p:nvSpPr>
            <p:cNvPr id="38" name="Graphic 4">
              <a:extLst>
                <a:ext uri="{FF2B5EF4-FFF2-40B4-BE49-F238E27FC236}">
                  <a16:creationId xmlns:a16="http://schemas.microsoft.com/office/drawing/2014/main" id="{7B048B13-040A-43B9-B8E4-68D2422B08A8}"/>
                </a:ext>
              </a:extLst>
            </p:cNvPr>
            <p:cNvSpPr/>
            <p:nvPr/>
          </p:nvSpPr>
          <p:spPr>
            <a:xfrm>
              <a:off x="5708769" y="918179"/>
              <a:ext cx="361674" cy="361333"/>
            </a:xfrm>
            <a:custGeom>
              <a:avLst/>
              <a:gdLst>
                <a:gd name="connsiteX0" fmla="*/ 180835 w 361674"/>
                <a:gd name="connsiteY0" fmla="*/ 349204 h 361333"/>
                <a:gd name="connsiteX1" fmla="*/ 12780 w 361674"/>
                <a:gd name="connsiteY1" fmla="*/ 181305 h 361333"/>
                <a:gd name="connsiteX2" fmla="*/ 180835 w 361674"/>
                <a:gd name="connsiteY2" fmla="*/ 13406 h 361333"/>
                <a:gd name="connsiteX3" fmla="*/ 348890 w 361674"/>
                <a:gd name="connsiteY3" fmla="*/ 181305 h 361333"/>
                <a:gd name="connsiteX4" fmla="*/ 180835 w 361674"/>
                <a:gd name="connsiteY4" fmla="*/ 349204 h 361333"/>
                <a:gd name="connsiteX5" fmla="*/ 180835 w 361674"/>
                <a:gd name="connsiteY5" fmla="*/ 0 h 361333"/>
                <a:gd name="connsiteX6" fmla="*/ 0 w 361674"/>
                <a:gd name="connsiteY6" fmla="*/ 180667 h 361333"/>
                <a:gd name="connsiteX7" fmla="*/ 180835 w 361674"/>
                <a:gd name="connsiteY7" fmla="*/ 361333 h 361333"/>
                <a:gd name="connsiteX8" fmla="*/ 361670 w 361674"/>
                <a:gd name="connsiteY8" fmla="*/ 180667 h 361333"/>
                <a:gd name="connsiteX9" fmla="*/ 180835 w 361674"/>
                <a:gd name="connsiteY9" fmla="*/ 0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4" h="361333"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5" y="13406"/>
                  </a:cubicBezTo>
                  <a:cubicBezTo>
                    <a:pt x="273489" y="13406"/>
                    <a:pt x="348890" y="88737"/>
                    <a:pt x="348890" y="181305"/>
                  </a:cubicBezTo>
                  <a:cubicBezTo>
                    <a:pt x="349529" y="273234"/>
                    <a:pt x="273489" y="349204"/>
                    <a:pt x="180835" y="349204"/>
                  </a:cubicBezTo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3"/>
                    <a:pt x="180835" y="361333"/>
                  </a:cubicBezTo>
                  <a:cubicBezTo>
                    <a:pt x="281157" y="361333"/>
                    <a:pt x="361670" y="280257"/>
                    <a:pt x="361670" y="180667"/>
                  </a:cubicBezTo>
                  <a:cubicBezTo>
                    <a:pt x="362309" y="81077"/>
                    <a:pt x="281157" y="0"/>
                    <a:pt x="180835" y="0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Graphic 4">
              <a:extLst>
                <a:ext uri="{FF2B5EF4-FFF2-40B4-BE49-F238E27FC236}">
                  <a16:creationId xmlns:a16="http://schemas.microsoft.com/office/drawing/2014/main" id="{111DCF65-73A1-4095-8F8A-BECC4A2FF462}"/>
                </a:ext>
              </a:extLst>
            </p:cNvPr>
            <p:cNvSpPr/>
            <p:nvPr/>
          </p:nvSpPr>
          <p:spPr>
            <a:xfrm>
              <a:off x="5828966" y="984862"/>
              <a:ext cx="121186" cy="229533"/>
            </a:xfrm>
            <a:custGeom>
              <a:avLst/>
              <a:gdLst>
                <a:gd name="connsiteX0" fmla="*/ 107285 w 121186"/>
                <a:gd name="connsiteY0" fmla="*/ 200806 h 229533"/>
                <a:gd name="connsiteX1" fmla="*/ 14631 w 121186"/>
                <a:gd name="connsiteY1" fmla="*/ 200806 h 229533"/>
                <a:gd name="connsiteX2" fmla="*/ 13992 w 121186"/>
                <a:gd name="connsiteY2" fmla="*/ 200806 h 229533"/>
                <a:gd name="connsiteX3" fmla="*/ 13992 w 121186"/>
                <a:gd name="connsiteY3" fmla="*/ 187400 h 229533"/>
                <a:gd name="connsiteX4" fmla="*/ 14631 w 121186"/>
                <a:gd name="connsiteY4" fmla="*/ 182931 h 229533"/>
                <a:gd name="connsiteX5" fmla="*/ 14631 w 121186"/>
                <a:gd name="connsiteY5" fmla="*/ 182931 h 229533"/>
                <a:gd name="connsiteX6" fmla="*/ 107285 w 121186"/>
                <a:gd name="connsiteY6" fmla="*/ 182931 h 229533"/>
                <a:gd name="connsiteX7" fmla="*/ 107285 w 121186"/>
                <a:gd name="connsiteY7" fmla="*/ 182931 h 229533"/>
                <a:gd name="connsiteX8" fmla="*/ 107285 w 121186"/>
                <a:gd name="connsiteY8" fmla="*/ 200806 h 229533"/>
                <a:gd name="connsiteX9" fmla="*/ 107285 w 121186"/>
                <a:gd name="connsiteY9" fmla="*/ 200806 h 229533"/>
                <a:gd name="connsiteX10" fmla="*/ 29967 w 121186"/>
                <a:gd name="connsiteY10" fmla="*/ 151649 h 229533"/>
                <a:gd name="connsiteX11" fmla="*/ 29967 w 121186"/>
                <a:gd name="connsiteY11" fmla="*/ 151649 h 229533"/>
                <a:gd name="connsiteX12" fmla="*/ 91949 w 121186"/>
                <a:gd name="connsiteY12" fmla="*/ 151649 h 229533"/>
                <a:gd name="connsiteX13" fmla="*/ 103451 w 121186"/>
                <a:gd name="connsiteY13" fmla="*/ 169524 h 229533"/>
                <a:gd name="connsiteX14" fmla="*/ 19104 w 121186"/>
                <a:gd name="connsiteY14" fmla="*/ 169524 h 229533"/>
                <a:gd name="connsiteX15" fmla="*/ 29967 w 121186"/>
                <a:gd name="connsiteY15" fmla="*/ 151649 h 229533"/>
                <a:gd name="connsiteX16" fmla="*/ 13992 w 121186"/>
                <a:gd name="connsiteY16" fmla="*/ 27800 h 229533"/>
                <a:gd name="connsiteX17" fmla="*/ 107285 w 121186"/>
                <a:gd name="connsiteY17" fmla="*/ 27800 h 229533"/>
                <a:gd name="connsiteX18" fmla="*/ 107924 w 121186"/>
                <a:gd name="connsiteY18" fmla="*/ 27800 h 229533"/>
                <a:gd name="connsiteX19" fmla="*/ 107924 w 121186"/>
                <a:gd name="connsiteY19" fmla="*/ 41206 h 229533"/>
                <a:gd name="connsiteX20" fmla="*/ 107285 w 121186"/>
                <a:gd name="connsiteY20" fmla="*/ 45675 h 229533"/>
                <a:gd name="connsiteX21" fmla="*/ 107285 w 121186"/>
                <a:gd name="connsiteY21" fmla="*/ 45675 h 229533"/>
                <a:gd name="connsiteX22" fmla="*/ 14631 w 121186"/>
                <a:gd name="connsiteY22" fmla="*/ 45675 h 229533"/>
                <a:gd name="connsiteX23" fmla="*/ 14631 w 121186"/>
                <a:gd name="connsiteY23" fmla="*/ 45675 h 229533"/>
                <a:gd name="connsiteX24" fmla="*/ 13992 w 121186"/>
                <a:gd name="connsiteY24" fmla="*/ 27800 h 229533"/>
                <a:gd name="connsiteX25" fmla="*/ 13992 w 121186"/>
                <a:gd name="connsiteY25" fmla="*/ 27800 h 229533"/>
                <a:gd name="connsiteX26" fmla="*/ 91949 w 121186"/>
                <a:gd name="connsiteY26" fmla="*/ 76957 h 229533"/>
                <a:gd name="connsiteX27" fmla="*/ 29967 w 121186"/>
                <a:gd name="connsiteY27" fmla="*/ 76957 h 229533"/>
                <a:gd name="connsiteX28" fmla="*/ 18465 w 121186"/>
                <a:gd name="connsiteY28" fmla="*/ 59081 h 229533"/>
                <a:gd name="connsiteX29" fmla="*/ 102812 w 121186"/>
                <a:gd name="connsiteY29" fmla="*/ 59081 h 229533"/>
                <a:gd name="connsiteX30" fmla="*/ 91949 w 121186"/>
                <a:gd name="connsiteY30" fmla="*/ 76957 h 229533"/>
                <a:gd name="connsiteX31" fmla="*/ 91949 w 121186"/>
                <a:gd name="connsiteY31" fmla="*/ 76957 h 229533"/>
                <a:gd name="connsiteX32" fmla="*/ 84281 w 121186"/>
                <a:gd name="connsiteY32" fmla="*/ 124836 h 229533"/>
                <a:gd name="connsiteX33" fmla="*/ 75335 w 121186"/>
                <a:gd name="connsiteY33" fmla="*/ 125475 h 229533"/>
                <a:gd name="connsiteX34" fmla="*/ 75974 w 121186"/>
                <a:gd name="connsiteY34" fmla="*/ 134412 h 229533"/>
                <a:gd name="connsiteX35" fmla="*/ 80447 w 121186"/>
                <a:gd name="connsiteY35" fmla="*/ 138881 h 229533"/>
                <a:gd name="connsiteX36" fmla="*/ 41469 w 121186"/>
                <a:gd name="connsiteY36" fmla="*/ 138881 h 229533"/>
                <a:gd name="connsiteX37" fmla="*/ 64472 w 121186"/>
                <a:gd name="connsiteY37" fmla="*/ 119729 h 229533"/>
                <a:gd name="connsiteX38" fmla="*/ 120704 w 121186"/>
                <a:gd name="connsiteY38" fmla="*/ 43121 h 229533"/>
                <a:gd name="connsiteX39" fmla="*/ 109841 w 121186"/>
                <a:gd name="connsiteY39" fmla="*/ 2264 h 229533"/>
                <a:gd name="connsiteX40" fmla="*/ 100895 w 121186"/>
                <a:gd name="connsiteY40" fmla="*/ 1626 h 229533"/>
                <a:gd name="connsiteX41" fmla="*/ 100256 w 121186"/>
                <a:gd name="connsiteY41" fmla="*/ 10563 h 229533"/>
                <a:gd name="connsiteX42" fmla="*/ 103451 w 121186"/>
                <a:gd name="connsiteY42" fmla="*/ 15670 h 229533"/>
                <a:gd name="connsiteX43" fmla="*/ 17826 w 121186"/>
                <a:gd name="connsiteY43" fmla="*/ 15670 h 229533"/>
                <a:gd name="connsiteX44" fmla="*/ 21021 w 121186"/>
                <a:gd name="connsiteY44" fmla="*/ 10563 h 229533"/>
                <a:gd name="connsiteX45" fmla="*/ 20382 w 121186"/>
                <a:gd name="connsiteY45" fmla="*/ 1626 h 229533"/>
                <a:gd name="connsiteX46" fmla="*/ 11436 w 121186"/>
                <a:gd name="connsiteY46" fmla="*/ 2264 h 229533"/>
                <a:gd name="connsiteX47" fmla="*/ 36996 w 121186"/>
                <a:gd name="connsiteY47" fmla="*/ 103769 h 229533"/>
                <a:gd name="connsiteX48" fmla="*/ 41469 w 121186"/>
                <a:gd name="connsiteY48" fmla="*/ 105685 h 229533"/>
                <a:gd name="connsiteX49" fmla="*/ 45942 w 121186"/>
                <a:gd name="connsiteY49" fmla="*/ 103769 h 229533"/>
                <a:gd name="connsiteX50" fmla="*/ 45303 w 121186"/>
                <a:gd name="connsiteY50" fmla="*/ 94832 h 229533"/>
                <a:gd name="connsiteX51" fmla="*/ 40830 w 121186"/>
                <a:gd name="connsiteY51" fmla="*/ 90363 h 229533"/>
                <a:gd name="connsiteX52" fmla="*/ 79808 w 121186"/>
                <a:gd name="connsiteY52" fmla="*/ 90363 h 229533"/>
                <a:gd name="connsiteX53" fmla="*/ 56804 w 121186"/>
                <a:gd name="connsiteY53" fmla="*/ 109515 h 229533"/>
                <a:gd name="connsiteX54" fmla="*/ 573 w 121186"/>
                <a:gd name="connsiteY54" fmla="*/ 186123 h 229533"/>
                <a:gd name="connsiteX55" fmla="*/ 11436 w 121186"/>
                <a:gd name="connsiteY55" fmla="*/ 226980 h 229533"/>
                <a:gd name="connsiteX56" fmla="*/ 16548 w 121186"/>
                <a:gd name="connsiteY56" fmla="*/ 229534 h 229533"/>
                <a:gd name="connsiteX57" fmla="*/ 20382 w 121186"/>
                <a:gd name="connsiteY57" fmla="*/ 228257 h 229533"/>
                <a:gd name="connsiteX58" fmla="*/ 21021 w 121186"/>
                <a:gd name="connsiteY58" fmla="*/ 219319 h 229533"/>
                <a:gd name="connsiteX59" fmla="*/ 17826 w 121186"/>
                <a:gd name="connsiteY59" fmla="*/ 214212 h 229533"/>
                <a:gd name="connsiteX60" fmla="*/ 102812 w 121186"/>
                <a:gd name="connsiteY60" fmla="*/ 214212 h 229533"/>
                <a:gd name="connsiteX61" fmla="*/ 99617 w 121186"/>
                <a:gd name="connsiteY61" fmla="*/ 219319 h 229533"/>
                <a:gd name="connsiteX62" fmla="*/ 100256 w 121186"/>
                <a:gd name="connsiteY62" fmla="*/ 228257 h 229533"/>
                <a:gd name="connsiteX63" fmla="*/ 104090 w 121186"/>
                <a:gd name="connsiteY63" fmla="*/ 229534 h 229533"/>
                <a:gd name="connsiteX64" fmla="*/ 109202 w 121186"/>
                <a:gd name="connsiteY64" fmla="*/ 226980 h 229533"/>
                <a:gd name="connsiteX65" fmla="*/ 84281 w 121186"/>
                <a:gd name="connsiteY65" fmla="*/ 124836 h 229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21186" h="229533">
                  <a:moveTo>
                    <a:pt x="107285" y="200806"/>
                  </a:moveTo>
                  <a:lnTo>
                    <a:pt x="14631" y="200806"/>
                  </a:lnTo>
                  <a:cubicBezTo>
                    <a:pt x="14631" y="200806"/>
                    <a:pt x="13992" y="200806"/>
                    <a:pt x="13992" y="200806"/>
                  </a:cubicBezTo>
                  <a:cubicBezTo>
                    <a:pt x="13353" y="196337"/>
                    <a:pt x="13353" y="191868"/>
                    <a:pt x="13992" y="187400"/>
                  </a:cubicBezTo>
                  <a:cubicBezTo>
                    <a:pt x="13992" y="186123"/>
                    <a:pt x="14631" y="184208"/>
                    <a:pt x="14631" y="182931"/>
                  </a:cubicBezTo>
                  <a:cubicBezTo>
                    <a:pt x="14631" y="182931"/>
                    <a:pt x="14631" y="182931"/>
                    <a:pt x="14631" y="182931"/>
                  </a:cubicBezTo>
                  <a:lnTo>
                    <a:pt x="107285" y="182931"/>
                  </a:lnTo>
                  <a:cubicBezTo>
                    <a:pt x="107285" y="182931"/>
                    <a:pt x="107285" y="182931"/>
                    <a:pt x="107285" y="182931"/>
                  </a:cubicBezTo>
                  <a:cubicBezTo>
                    <a:pt x="108563" y="188676"/>
                    <a:pt x="108563" y="195060"/>
                    <a:pt x="107285" y="200806"/>
                  </a:cubicBezTo>
                  <a:cubicBezTo>
                    <a:pt x="107285" y="200806"/>
                    <a:pt x="107285" y="200806"/>
                    <a:pt x="107285" y="200806"/>
                  </a:cubicBezTo>
                  <a:moveTo>
                    <a:pt x="29967" y="151649"/>
                  </a:moveTo>
                  <a:cubicBezTo>
                    <a:pt x="29967" y="151649"/>
                    <a:pt x="29967" y="151649"/>
                    <a:pt x="29967" y="151649"/>
                  </a:cubicBezTo>
                  <a:lnTo>
                    <a:pt x="91949" y="151649"/>
                  </a:lnTo>
                  <a:cubicBezTo>
                    <a:pt x="97061" y="158033"/>
                    <a:pt x="100256" y="163779"/>
                    <a:pt x="103451" y="169524"/>
                  </a:cubicBezTo>
                  <a:lnTo>
                    <a:pt x="19104" y="169524"/>
                  </a:lnTo>
                  <a:cubicBezTo>
                    <a:pt x="21021" y="163779"/>
                    <a:pt x="24855" y="158033"/>
                    <a:pt x="29967" y="151649"/>
                  </a:cubicBezTo>
                  <a:moveTo>
                    <a:pt x="13992" y="27800"/>
                  </a:moveTo>
                  <a:lnTo>
                    <a:pt x="107285" y="27800"/>
                  </a:lnTo>
                  <a:cubicBezTo>
                    <a:pt x="107285" y="27800"/>
                    <a:pt x="107924" y="27800"/>
                    <a:pt x="107924" y="27800"/>
                  </a:cubicBezTo>
                  <a:cubicBezTo>
                    <a:pt x="108563" y="32269"/>
                    <a:pt x="108563" y="36737"/>
                    <a:pt x="107924" y="41206"/>
                  </a:cubicBezTo>
                  <a:cubicBezTo>
                    <a:pt x="107924" y="42483"/>
                    <a:pt x="107285" y="44398"/>
                    <a:pt x="107285" y="45675"/>
                  </a:cubicBezTo>
                  <a:cubicBezTo>
                    <a:pt x="107285" y="45675"/>
                    <a:pt x="107285" y="45675"/>
                    <a:pt x="107285" y="45675"/>
                  </a:cubicBezTo>
                  <a:lnTo>
                    <a:pt x="14631" y="45675"/>
                  </a:lnTo>
                  <a:cubicBezTo>
                    <a:pt x="14631" y="45675"/>
                    <a:pt x="14631" y="45675"/>
                    <a:pt x="14631" y="45675"/>
                  </a:cubicBezTo>
                  <a:cubicBezTo>
                    <a:pt x="12714" y="39291"/>
                    <a:pt x="12714" y="32907"/>
                    <a:pt x="13992" y="27800"/>
                  </a:cubicBezTo>
                  <a:cubicBezTo>
                    <a:pt x="13992" y="27800"/>
                    <a:pt x="13992" y="27800"/>
                    <a:pt x="13992" y="27800"/>
                  </a:cubicBezTo>
                  <a:moveTo>
                    <a:pt x="91949" y="76957"/>
                  </a:moveTo>
                  <a:lnTo>
                    <a:pt x="29967" y="76957"/>
                  </a:lnTo>
                  <a:cubicBezTo>
                    <a:pt x="24855" y="70573"/>
                    <a:pt x="21660" y="64827"/>
                    <a:pt x="18465" y="59081"/>
                  </a:cubicBezTo>
                  <a:lnTo>
                    <a:pt x="102812" y="59081"/>
                  </a:lnTo>
                  <a:cubicBezTo>
                    <a:pt x="100256" y="64189"/>
                    <a:pt x="96422" y="70573"/>
                    <a:pt x="91949" y="76957"/>
                  </a:cubicBezTo>
                  <a:cubicBezTo>
                    <a:pt x="91949" y="76957"/>
                    <a:pt x="91949" y="76957"/>
                    <a:pt x="91949" y="76957"/>
                  </a:cubicBezTo>
                  <a:moveTo>
                    <a:pt x="84281" y="124836"/>
                  </a:moveTo>
                  <a:cubicBezTo>
                    <a:pt x="81725" y="122283"/>
                    <a:pt x="77892" y="122921"/>
                    <a:pt x="75335" y="125475"/>
                  </a:cubicBezTo>
                  <a:cubicBezTo>
                    <a:pt x="72779" y="128028"/>
                    <a:pt x="73418" y="131859"/>
                    <a:pt x="75974" y="134412"/>
                  </a:cubicBezTo>
                  <a:cubicBezTo>
                    <a:pt x="77892" y="135689"/>
                    <a:pt x="79169" y="137604"/>
                    <a:pt x="80447" y="138881"/>
                  </a:cubicBezTo>
                  <a:lnTo>
                    <a:pt x="41469" y="138881"/>
                  </a:lnTo>
                  <a:cubicBezTo>
                    <a:pt x="47859" y="132497"/>
                    <a:pt x="55527" y="126113"/>
                    <a:pt x="64472" y="119729"/>
                  </a:cubicBezTo>
                  <a:cubicBezTo>
                    <a:pt x="106646" y="89725"/>
                    <a:pt x="118148" y="61635"/>
                    <a:pt x="120704" y="43121"/>
                  </a:cubicBezTo>
                  <a:cubicBezTo>
                    <a:pt x="122621" y="27800"/>
                    <a:pt x="118787" y="13117"/>
                    <a:pt x="109841" y="2264"/>
                  </a:cubicBezTo>
                  <a:cubicBezTo>
                    <a:pt x="107285" y="-290"/>
                    <a:pt x="103451" y="-928"/>
                    <a:pt x="100895" y="1626"/>
                  </a:cubicBezTo>
                  <a:cubicBezTo>
                    <a:pt x="98339" y="4179"/>
                    <a:pt x="97700" y="8010"/>
                    <a:pt x="100256" y="10563"/>
                  </a:cubicBezTo>
                  <a:cubicBezTo>
                    <a:pt x="101534" y="11840"/>
                    <a:pt x="102812" y="13755"/>
                    <a:pt x="103451" y="15670"/>
                  </a:cubicBezTo>
                  <a:lnTo>
                    <a:pt x="17826" y="15670"/>
                  </a:lnTo>
                  <a:cubicBezTo>
                    <a:pt x="19104" y="13755"/>
                    <a:pt x="19743" y="12478"/>
                    <a:pt x="21021" y="10563"/>
                  </a:cubicBezTo>
                  <a:cubicBezTo>
                    <a:pt x="22938" y="8010"/>
                    <a:pt x="22938" y="3541"/>
                    <a:pt x="20382" y="1626"/>
                  </a:cubicBezTo>
                  <a:cubicBezTo>
                    <a:pt x="17826" y="-928"/>
                    <a:pt x="13353" y="-290"/>
                    <a:pt x="11436" y="2264"/>
                  </a:cubicBezTo>
                  <a:cubicBezTo>
                    <a:pt x="-5178" y="22693"/>
                    <a:pt x="-9012" y="61635"/>
                    <a:pt x="36996" y="103769"/>
                  </a:cubicBezTo>
                  <a:cubicBezTo>
                    <a:pt x="38274" y="105046"/>
                    <a:pt x="39552" y="105685"/>
                    <a:pt x="41469" y="105685"/>
                  </a:cubicBezTo>
                  <a:cubicBezTo>
                    <a:pt x="43386" y="105685"/>
                    <a:pt x="44664" y="105046"/>
                    <a:pt x="45942" y="103769"/>
                  </a:cubicBezTo>
                  <a:cubicBezTo>
                    <a:pt x="48498" y="101216"/>
                    <a:pt x="47859" y="97385"/>
                    <a:pt x="45303" y="94832"/>
                  </a:cubicBezTo>
                  <a:cubicBezTo>
                    <a:pt x="44025" y="93555"/>
                    <a:pt x="42108" y="92278"/>
                    <a:pt x="40830" y="90363"/>
                  </a:cubicBezTo>
                  <a:lnTo>
                    <a:pt x="79808" y="90363"/>
                  </a:lnTo>
                  <a:cubicBezTo>
                    <a:pt x="73418" y="96747"/>
                    <a:pt x="65750" y="103131"/>
                    <a:pt x="56804" y="109515"/>
                  </a:cubicBezTo>
                  <a:cubicBezTo>
                    <a:pt x="14631" y="139520"/>
                    <a:pt x="3129" y="167609"/>
                    <a:pt x="573" y="186123"/>
                  </a:cubicBezTo>
                  <a:cubicBezTo>
                    <a:pt x="-1344" y="201444"/>
                    <a:pt x="2490" y="216127"/>
                    <a:pt x="11436" y="226980"/>
                  </a:cubicBezTo>
                  <a:cubicBezTo>
                    <a:pt x="12714" y="228257"/>
                    <a:pt x="14631" y="229534"/>
                    <a:pt x="16548" y="229534"/>
                  </a:cubicBezTo>
                  <a:cubicBezTo>
                    <a:pt x="17826" y="229534"/>
                    <a:pt x="19104" y="228895"/>
                    <a:pt x="20382" y="228257"/>
                  </a:cubicBezTo>
                  <a:cubicBezTo>
                    <a:pt x="22938" y="225703"/>
                    <a:pt x="23577" y="221873"/>
                    <a:pt x="21021" y="219319"/>
                  </a:cubicBezTo>
                  <a:cubicBezTo>
                    <a:pt x="19743" y="218043"/>
                    <a:pt x="18465" y="216127"/>
                    <a:pt x="17826" y="214212"/>
                  </a:cubicBezTo>
                  <a:lnTo>
                    <a:pt x="102812" y="214212"/>
                  </a:lnTo>
                  <a:cubicBezTo>
                    <a:pt x="101534" y="216127"/>
                    <a:pt x="100895" y="217404"/>
                    <a:pt x="99617" y="219319"/>
                  </a:cubicBezTo>
                  <a:cubicBezTo>
                    <a:pt x="97700" y="221873"/>
                    <a:pt x="97700" y="226342"/>
                    <a:pt x="100256" y="228257"/>
                  </a:cubicBezTo>
                  <a:cubicBezTo>
                    <a:pt x="101534" y="229534"/>
                    <a:pt x="102812" y="229534"/>
                    <a:pt x="104090" y="229534"/>
                  </a:cubicBezTo>
                  <a:cubicBezTo>
                    <a:pt x="106007" y="229534"/>
                    <a:pt x="107924" y="228895"/>
                    <a:pt x="109202" y="226980"/>
                  </a:cubicBezTo>
                  <a:cubicBezTo>
                    <a:pt x="126455" y="205913"/>
                    <a:pt x="130289" y="166971"/>
                    <a:pt x="84281" y="124836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0" name="Graphic 1100">
            <a:extLst>
              <a:ext uri="{FF2B5EF4-FFF2-40B4-BE49-F238E27FC236}">
                <a16:creationId xmlns:a16="http://schemas.microsoft.com/office/drawing/2014/main" id="{B207FBA5-AD55-425A-B063-D39A789731D8}"/>
              </a:ext>
            </a:extLst>
          </p:cNvPr>
          <p:cNvGrpSpPr/>
          <p:nvPr/>
        </p:nvGrpSpPr>
        <p:grpSpPr>
          <a:xfrm>
            <a:off x="130983" y="3170813"/>
            <a:ext cx="457200" cy="457200"/>
            <a:chOff x="4661459" y="3343617"/>
            <a:chExt cx="362313" cy="361971"/>
          </a:xfrm>
          <a:solidFill>
            <a:schemeClr val="bg1"/>
          </a:solidFill>
        </p:grpSpPr>
        <p:sp>
          <p:nvSpPr>
            <p:cNvPr id="41" name="Graphic 1100">
              <a:extLst>
                <a:ext uri="{FF2B5EF4-FFF2-40B4-BE49-F238E27FC236}">
                  <a16:creationId xmlns:a16="http://schemas.microsoft.com/office/drawing/2014/main" id="{6098CCDF-2983-4F87-A06D-745E369E20CC}"/>
                </a:ext>
              </a:extLst>
            </p:cNvPr>
            <p:cNvSpPr/>
            <p:nvPr/>
          </p:nvSpPr>
          <p:spPr>
            <a:xfrm>
              <a:off x="4661459" y="3343617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0 h 361971"/>
                <a:gd name="connsiteX7" fmla="*/ 181474 w 362313"/>
                <a:gd name="connsiteY7" fmla="*/ 349204 h 361971"/>
                <a:gd name="connsiteX8" fmla="*/ 12780 w 362313"/>
                <a:gd name="connsiteY8" fmla="*/ 181305 h 361971"/>
                <a:gd name="connsiteX9" fmla="*/ 180835 w 362313"/>
                <a:gd name="connsiteY9" fmla="*/ 12768 h 361971"/>
                <a:gd name="connsiteX10" fmla="*/ 349530 w 362313"/>
                <a:gd name="connsiteY10" fmla="*/ 180667 h 361971"/>
                <a:gd name="connsiteX11" fmla="*/ 349530 w 362313"/>
                <a:gd name="connsiteY11" fmla="*/ 180667 h 361971"/>
                <a:gd name="connsiteX12" fmla="*/ 181474 w 362313"/>
                <a:gd name="connsiteY12" fmla="*/ 349204 h 361971"/>
                <a:gd name="connsiteX13" fmla="*/ 181474 w 362313"/>
                <a:gd name="connsiteY13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5" y="361972"/>
                  </a:cubicBezTo>
                  <a:cubicBezTo>
                    <a:pt x="280518" y="361972"/>
                    <a:pt x="362310" y="280895"/>
                    <a:pt x="362310" y="181305"/>
                  </a:cubicBezTo>
                  <a:lnTo>
                    <a:pt x="362310" y="181305"/>
                  </a:lnTo>
                  <a:cubicBezTo>
                    <a:pt x="362948" y="81077"/>
                    <a:pt x="281796" y="0"/>
                    <a:pt x="181474" y="0"/>
                  </a:cubicBezTo>
                  <a:cubicBezTo>
                    <a:pt x="182113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8"/>
                    <a:pt x="88181" y="12768"/>
                    <a:pt x="180835" y="12768"/>
                  </a:cubicBezTo>
                  <a:cubicBezTo>
                    <a:pt x="274128" y="12768"/>
                    <a:pt x="349530" y="88099"/>
                    <a:pt x="349530" y="180667"/>
                  </a:cubicBezTo>
                  <a:lnTo>
                    <a:pt x="349530" y="180667"/>
                  </a:lnTo>
                  <a:cubicBezTo>
                    <a:pt x="350168" y="273873"/>
                    <a:pt x="274767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Graphic 1100">
              <a:extLst>
                <a:ext uri="{FF2B5EF4-FFF2-40B4-BE49-F238E27FC236}">
                  <a16:creationId xmlns:a16="http://schemas.microsoft.com/office/drawing/2014/main" id="{54539F58-F56B-45F2-AEB8-4CADE2CE43D7}"/>
                </a:ext>
              </a:extLst>
            </p:cNvPr>
            <p:cNvSpPr/>
            <p:nvPr/>
          </p:nvSpPr>
          <p:spPr>
            <a:xfrm>
              <a:off x="4734943" y="3445761"/>
              <a:ext cx="215979" cy="157684"/>
            </a:xfrm>
            <a:custGeom>
              <a:avLst/>
              <a:gdLst>
                <a:gd name="connsiteX0" fmla="*/ 209590 w 215979"/>
                <a:gd name="connsiteY0" fmla="*/ 0 h 157684"/>
                <a:gd name="connsiteX1" fmla="*/ 6390 w 215979"/>
                <a:gd name="connsiteY1" fmla="*/ 0 h 157684"/>
                <a:gd name="connsiteX2" fmla="*/ 0 w 215979"/>
                <a:gd name="connsiteY2" fmla="*/ 6384 h 157684"/>
                <a:gd name="connsiteX3" fmla="*/ 0 w 215979"/>
                <a:gd name="connsiteY3" fmla="*/ 151300 h 157684"/>
                <a:gd name="connsiteX4" fmla="*/ 6390 w 215979"/>
                <a:gd name="connsiteY4" fmla="*/ 157684 h 157684"/>
                <a:gd name="connsiteX5" fmla="*/ 209590 w 215979"/>
                <a:gd name="connsiteY5" fmla="*/ 157684 h 157684"/>
                <a:gd name="connsiteX6" fmla="*/ 215980 w 215979"/>
                <a:gd name="connsiteY6" fmla="*/ 151300 h 157684"/>
                <a:gd name="connsiteX7" fmla="*/ 215980 w 215979"/>
                <a:gd name="connsiteY7" fmla="*/ 6384 h 157684"/>
                <a:gd name="connsiteX8" fmla="*/ 209590 w 215979"/>
                <a:gd name="connsiteY8" fmla="*/ 0 h 157684"/>
                <a:gd name="connsiteX9" fmla="*/ 203200 w 215979"/>
                <a:gd name="connsiteY9" fmla="*/ 12768 h 157684"/>
                <a:gd name="connsiteX10" fmla="*/ 203200 w 215979"/>
                <a:gd name="connsiteY10" fmla="*/ 116827 h 157684"/>
                <a:gd name="connsiteX11" fmla="*/ 178918 w 215979"/>
                <a:gd name="connsiteY11" fmla="*/ 82354 h 157684"/>
                <a:gd name="connsiteX12" fmla="*/ 174445 w 215979"/>
                <a:gd name="connsiteY12" fmla="*/ 79800 h 157684"/>
                <a:gd name="connsiteX13" fmla="*/ 169333 w 215979"/>
                <a:gd name="connsiteY13" fmla="*/ 81715 h 157684"/>
                <a:gd name="connsiteX14" fmla="*/ 141217 w 215979"/>
                <a:gd name="connsiteY14" fmla="*/ 109805 h 157684"/>
                <a:gd name="connsiteX15" fmla="*/ 80513 w 215979"/>
                <a:gd name="connsiteY15" fmla="*/ 49157 h 157684"/>
                <a:gd name="connsiteX16" fmla="*/ 71567 w 215979"/>
                <a:gd name="connsiteY16" fmla="*/ 49157 h 157684"/>
                <a:gd name="connsiteX17" fmla="*/ 71567 w 215979"/>
                <a:gd name="connsiteY17" fmla="*/ 49157 h 157684"/>
                <a:gd name="connsiteX18" fmla="*/ 13419 w 215979"/>
                <a:gd name="connsiteY18" fmla="*/ 107251 h 157684"/>
                <a:gd name="connsiteX19" fmla="*/ 13419 w 215979"/>
                <a:gd name="connsiteY19" fmla="*/ 12768 h 157684"/>
                <a:gd name="connsiteX20" fmla="*/ 203200 w 215979"/>
                <a:gd name="connsiteY20" fmla="*/ 12768 h 157684"/>
                <a:gd name="connsiteX21" fmla="*/ 12780 w 215979"/>
                <a:gd name="connsiteY21" fmla="*/ 144916 h 157684"/>
                <a:gd name="connsiteX22" fmla="*/ 12780 w 215979"/>
                <a:gd name="connsiteY22" fmla="*/ 125126 h 157684"/>
                <a:gd name="connsiteX23" fmla="*/ 75401 w 215979"/>
                <a:gd name="connsiteY23" fmla="*/ 62563 h 157684"/>
                <a:gd name="connsiteX24" fmla="*/ 136106 w 215979"/>
                <a:gd name="connsiteY24" fmla="*/ 123211 h 157684"/>
                <a:gd name="connsiteX25" fmla="*/ 145052 w 215979"/>
                <a:gd name="connsiteY25" fmla="*/ 123211 h 157684"/>
                <a:gd name="connsiteX26" fmla="*/ 172528 w 215979"/>
                <a:gd name="connsiteY26" fmla="*/ 95760 h 157684"/>
                <a:gd name="connsiteX27" fmla="*/ 203200 w 215979"/>
                <a:gd name="connsiteY27" fmla="*/ 138533 h 157684"/>
                <a:gd name="connsiteX28" fmla="*/ 203200 w 215979"/>
                <a:gd name="connsiteY28" fmla="*/ 144916 h 157684"/>
                <a:gd name="connsiteX29" fmla="*/ 12780 w 215979"/>
                <a:gd name="connsiteY29" fmla="*/ 144916 h 15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5979" h="157684">
                  <a:moveTo>
                    <a:pt x="209590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151300"/>
                  </a:lnTo>
                  <a:cubicBezTo>
                    <a:pt x="0" y="155131"/>
                    <a:pt x="2556" y="157684"/>
                    <a:pt x="6390" y="157684"/>
                  </a:cubicBezTo>
                  <a:lnTo>
                    <a:pt x="209590" y="157684"/>
                  </a:lnTo>
                  <a:cubicBezTo>
                    <a:pt x="213424" y="157684"/>
                    <a:pt x="215980" y="155131"/>
                    <a:pt x="215980" y="151300"/>
                  </a:cubicBezTo>
                  <a:lnTo>
                    <a:pt x="215980" y="6384"/>
                  </a:lnTo>
                  <a:cubicBezTo>
                    <a:pt x="215980" y="3192"/>
                    <a:pt x="213424" y="0"/>
                    <a:pt x="209590" y="0"/>
                  </a:cubicBezTo>
                  <a:close/>
                  <a:moveTo>
                    <a:pt x="203200" y="12768"/>
                  </a:moveTo>
                  <a:lnTo>
                    <a:pt x="203200" y="116827"/>
                  </a:lnTo>
                  <a:lnTo>
                    <a:pt x="178918" y="82354"/>
                  </a:lnTo>
                  <a:cubicBezTo>
                    <a:pt x="177640" y="81077"/>
                    <a:pt x="176362" y="79800"/>
                    <a:pt x="174445" y="79800"/>
                  </a:cubicBezTo>
                  <a:cubicBezTo>
                    <a:pt x="172528" y="79800"/>
                    <a:pt x="170611" y="80438"/>
                    <a:pt x="169333" y="81715"/>
                  </a:cubicBezTo>
                  <a:lnTo>
                    <a:pt x="141217" y="109805"/>
                  </a:lnTo>
                  <a:lnTo>
                    <a:pt x="80513" y="49157"/>
                  </a:lnTo>
                  <a:cubicBezTo>
                    <a:pt x="77957" y="46603"/>
                    <a:pt x="74123" y="46603"/>
                    <a:pt x="71567" y="49157"/>
                  </a:cubicBezTo>
                  <a:cubicBezTo>
                    <a:pt x="71567" y="49157"/>
                    <a:pt x="71567" y="49157"/>
                    <a:pt x="71567" y="49157"/>
                  </a:cubicBezTo>
                  <a:lnTo>
                    <a:pt x="13419" y="107251"/>
                  </a:lnTo>
                  <a:lnTo>
                    <a:pt x="13419" y="12768"/>
                  </a:lnTo>
                  <a:lnTo>
                    <a:pt x="203200" y="12768"/>
                  </a:lnTo>
                  <a:close/>
                  <a:moveTo>
                    <a:pt x="12780" y="144916"/>
                  </a:moveTo>
                  <a:lnTo>
                    <a:pt x="12780" y="125126"/>
                  </a:lnTo>
                  <a:lnTo>
                    <a:pt x="75401" y="62563"/>
                  </a:lnTo>
                  <a:lnTo>
                    <a:pt x="136106" y="123211"/>
                  </a:lnTo>
                  <a:cubicBezTo>
                    <a:pt x="138662" y="125765"/>
                    <a:pt x="142496" y="125765"/>
                    <a:pt x="145052" y="123211"/>
                  </a:cubicBezTo>
                  <a:lnTo>
                    <a:pt x="172528" y="95760"/>
                  </a:lnTo>
                  <a:lnTo>
                    <a:pt x="203200" y="138533"/>
                  </a:lnTo>
                  <a:lnTo>
                    <a:pt x="203200" y="144916"/>
                  </a:lnTo>
                  <a:lnTo>
                    <a:pt x="12780" y="14491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Graphic 1100">
              <a:extLst>
                <a:ext uri="{FF2B5EF4-FFF2-40B4-BE49-F238E27FC236}">
                  <a16:creationId xmlns:a16="http://schemas.microsoft.com/office/drawing/2014/main" id="{58691CD7-96AF-4F8D-A175-C9A3B02A89C4}"/>
                </a:ext>
              </a:extLst>
            </p:cNvPr>
            <p:cNvSpPr/>
            <p:nvPr/>
          </p:nvSpPr>
          <p:spPr>
            <a:xfrm>
              <a:off x="4867215" y="3483427"/>
              <a:ext cx="24281" cy="24259"/>
            </a:xfrm>
            <a:custGeom>
              <a:avLst/>
              <a:gdLst>
                <a:gd name="connsiteX0" fmla="*/ 12141 w 24281"/>
                <a:gd name="connsiteY0" fmla="*/ 24259 h 24259"/>
                <a:gd name="connsiteX1" fmla="*/ 24282 w 24281"/>
                <a:gd name="connsiteY1" fmla="*/ 12129 h 24259"/>
                <a:gd name="connsiteX2" fmla="*/ 12141 w 24281"/>
                <a:gd name="connsiteY2" fmla="*/ 0 h 24259"/>
                <a:gd name="connsiteX3" fmla="*/ 0 w 24281"/>
                <a:gd name="connsiteY3" fmla="*/ 12129 h 24259"/>
                <a:gd name="connsiteX4" fmla="*/ 0 w 24281"/>
                <a:gd name="connsiteY4" fmla="*/ 12129 h 24259"/>
                <a:gd name="connsiteX5" fmla="*/ 12141 w 24281"/>
                <a:gd name="connsiteY5" fmla="*/ 24259 h 24259"/>
                <a:gd name="connsiteX6" fmla="*/ 12141 w 24281"/>
                <a:gd name="connsiteY6" fmla="*/ 11491 h 24259"/>
                <a:gd name="connsiteX7" fmla="*/ 12780 w 24281"/>
                <a:gd name="connsiteY7" fmla="*/ 12129 h 24259"/>
                <a:gd name="connsiteX8" fmla="*/ 12780 w 24281"/>
                <a:gd name="connsiteY8" fmla="*/ 12129 h 24259"/>
                <a:gd name="connsiteX9" fmla="*/ 11502 w 24281"/>
                <a:gd name="connsiteY9" fmla="*/ 12129 h 24259"/>
                <a:gd name="connsiteX10" fmla="*/ 12141 w 24281"/>
                <a:gd name="connsiteY10" fmla="*/ 11491 h 24259"/>
                <a:gd name="connsiteX11" fmla="*/ 12141 w 24281"/>
                <a:gd name="connsiteY11" fmla="*/ 11491 h 24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281" h="24259">
                  <a:moveTo>
                    <a:pt x="12141" y="24259"/>
                  </a:moveTo>
                  <a:cubicBezTo>
                    <a:pt x="18531" y="24259"/>
                    <a:pt x="24282" y="19152"/>
                    <a:pt x="24282" y="12129"/>
                  </a:cubicBezTo>
                  <a:cubicBezTo>
                    <a:pt x="24282" y="5745"/>
                    <a:pt x="19170" y="0"/>
                    <a:pt x="12141" y="0"/>
                  </a:cubicBezTo>
                  <a:cubicBezTo>
                    <a:pt x="5112" y="0"/>
                    <a:pt x="0" y="5107"/>
                    <a:pt x="0" y="12129"/>
                  </a:cubicBezTo>
                  <a:cubicBezTo>
                    <a:pt x="0" y="12129"/>
                    <a:pt x="0" y="12129"/>
                    <a:pt x="0" y="12129"/>
                  </a:cubicBezTo>
                  <a:cubicBezTo>
                    <a:pt x="0" y="19152"/>
                    <a:pt x="5751" y="24259"/>
                    <a:pt x="12141" y="24259"/>
                  </a:cubicBezTo>
                  <a:close/>
                  <a:moveTo>
                    <a:pt x="12141" y="11491"/>
                  </a:moveTo>
                  <a:cubicBezTo>
                    <a:pt x="12780" y="11491"/>
                    <a:pt x="12780" y="12129"/>
                    <a:pt x="12780" y="12129"/>
                  </a:cubicBezTo>
                  <a:cubicBezTo>
                    <a:pt x="12780" y="12129"/>
                    <a:pt x="12780" y="12129"/>
                    <a:pt x="12780" y="12129"/>
                  </a:cubicBezTo>
                  <a:cubicBezTo>
                    <a:pt x="12780" y="12768"/>
                    <a:pt x="11502" y="12768"/>
                    <a:pt x="11502" y="12129"/>
                  </a:cubicBezTo>
                  <a:cubicBezTo>
                    <a:pt x="11502" y="12129"/>
                    <a:pt x="11502" y="11491"/>
                    <a:pt x="12141" y="11491"/>
                  </a:cubicBezTo>
                  <a:cubicBezTo>
                    <a:pt x="12141" y="11491"/>
                    <a:pt x="12141" y="11491"/>
                    <a:pt x="12141" y="1149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4D2EA54E-5E63-428B-AC10-0DAF76221921}"/>
              </a:ext>
            </a:extLst>
          </p:cNvPr>
          <p:cNvSpPr txBox="1"/>
          <p:nvPr/>
        </p:nvSpPr>
        <p:spPr>
          <a:xfrm>
            <a:off x="1" y="5925391"/>
            <a:ext cx="12192000" cy="558774"/>
          </a:xfrm>
          <a:prstGeom prst="rect">
            <a:avLst/>
          </a:prstGeom>
          <a:solidFill>
            <a:schemeClr val="tx1"/>
          </a:solidFill>
        </p:spPr>
        <p:txBody>
          <a:bodyPr wrap="square" tIns="0" bIns="9144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We are publishing a Generative AI Dossier in late June that will cover prominent applications of the technology across all industries. In addition, each use case will be evaluated using </a:t>
            </a:r>
            <a:r>
              <a:rPr lang="en-US" sz="1200" b="1" kern="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hlinkClick r:id="rId17"/>
              </a:rPr>
              <a:t>Deloitte’s Technology Trust Ethics (TTE) Framework  </a:t>
            </a:r>
            <a:r>
              <a:rPr lang="en-US" sz="1200" b="1" kern="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o help organizations implement them in a safe and trustworthy manner</a:t>
            </a:r>
            <a:endParaRPr kumimoji="0" lang="de-DE" sz="1200" b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593262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Consulting Scrapbook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_CommercialOrg_template_2020" id="{D32F86C5-6E97-174B-AF1F-49E790DA0834}" vid="{A6D12DED-5EF3-5249-A518-6826C0E517DB}"/>
    </a:ext>
  </a:extLst>
</a:theme>
</file>

<file path=ppt/theme/theme2.xml><?xml version="1.0" encoding="utf-8"?>
<a:theme xmlns:a="http://schemas.openxmlformats.org/drawingml/2006/main" name="2_Deloitte_US_Onscreen">
  <a:themeElements>
    <a:clrScheme name="DELOITTE - Cyber">
      <a:dk1>
        <a:srgbClr val="000000"/>
      </a:dk1>
      <a:lt1>
        <a:srgbClr val="FFFFFF"/>
      </a:lt1>
      <a:dk2>
        <a:srgbClr val="86BC00"/>
      </a:dk2>
      <a:lt2>
        <a:srgbClr val="C3D600"/>
      </a:lt2>
      <a:accent1>
        <a:srgbClr val="43B02A"/>
      </a:accent1>
      <a:accent2>
        <a:srgbClr val="046938"/>
      </a:accent2>
      <a:accent3>
        <a:srgbClr val="0097A9"/>
      </a:accent3>
      <a:accent4>
        <a:srgbClr val="61B5E5"/>
      </a:accent4>
      <a:accent5>
        <a:srgbClr val="00B5E5"/>
      </a:accent5>
      <a:accent6>
        <a:srgbClr val="0076A8"/>
      </a:accent6>
      <a:hlink>
        <a:srgbClr val="012069"/>
      </a:hlink>
      <a:folHlink>
        <a:srgbClr val="97999B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_CommercialOrg_template_2020" id="{D32F86C5-6E97-174B-AF1F-49E790DA0834}" vid="{A6D12DED-5EF3-5249-A518-6826C0E517D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08BD4516B004588F83DF058126254" ma:contentTypeVersion="14" ma:contentTypeDescription="Create a new document." ma:contentTypeScope="" ma:versionID="55ff4a67494f96591ee2a3ed413f2d1d">
  <xsd:schema xmlns:xsd="http://www.w3.org/2001/XMLSchema" xmlns:xs="http://www.w3.org/2001/XMLSchema" xmlns:p="http://schemas.microsoft.com/office/2006/metadata/properties" xmlns:ns2="05194344-b16b-4cdd-919b-7d2c10957e46" xmlns:ns3="fea8ac73-90e4-432c-b893-d481c4dd49ac" targetNamespace="http://schemas.microsoft.com/office/2006/metadata/properties" ma:root="true" ma:fieldsID="bd1916f570d995c6408499c325c0f5e7" ns2:_="" ns3:_="">
    <xsd:import namespace="05194344-b16b-4cdd-919b-7d2c10957e46"/>
    <xsd:import namespace="fea8ac73-90e4-432c-b893-d481c4dd49ac"/>
    <xsd:element name="properties">
      <xsd:complexType>
        <xsd:sequence>
          <xsd:element name="documentManagement">
            <xsd:complexType>
              <xsd:all>
                <xsd:element ref="ns2:KXStatus" minOccurs="0"/>
                <xsd:element ref="ns2:KXDocumentID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194344-b16b-4cdd-919b-7d2c10957e46" elementFormDefault="qualified">
    <xsd:import namespace="http://schemas.microsoft.com/office/2006/documentManagement/types"/>
    <xsd:import namespace="http://schemas.microsoft.com/office/infopath/2007/PartnerControls"/>
    <xsd:element name="KXStatus" ma:index="8" nillable="true" ma:displayName="KXStatus" ma:format="Dropdown" ma:internalName="KXStatus">
      <xsd:simpleType>
        <xsd:union memberTypes="dms:Text">
          <xsd:simpleType>
            <xsd:restriction base="dms:Choice">
              <xsd:enumeration value="Contributed"/>
              <xsd:enumeration value="Published"/>
              <xsd:enumeration value="Processing by AI"/>
            </xsd:restriction>
          </xsd:simpleType>
        </xsd:union>
      </xsd:simpleType>
    </xsd:element>
    <xsd:element name="KXDocumentID" ma:index="9" nillable="true" ma:displayName="KXDocumentID" ma:format="Dropdown" ma:internalName="KXDocumentID" ma:percentage="FALSE">
      <xsd:simpleType>
        <xsd:restriction base="dms:Number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a8ac73-90e4-432c-b893-d481c4dd49ac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2dec25c0-919b-4fce-add4-9c773df6b989}" ma:internalName="TaxCatchAll" ma:showField="CatchAllData" ma:web="fea8ac73-90e4-432c-b893-d481c4dd49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XDocumentID xmlns="05194344-b16b-4cdd-919b-7d2c10957e46" xsi:nil="true"/>
    <KXStatus xmlns="05194344-b16b-4cdd-919b-7d2c10957e46" xsi:nil="true"/>
    <lcf76f155ced4ddcb4097134ff3c332f xmlns="05194344-b16b-4cdd-919b-7d2c10957e46">
      <Terms xmlns="http://schemas.microsoft.com/office/infopath/2007/PartnerControls"/>
    </lcf76f155ced4ddcb4097134ff3c332f>
    <TaxCatchAll xmlns="fea8ac73-90e4-432c-b893-d481c4dd49ac" xsi:nil="true"/>
  </documentManagement>
</p:properties>
</file>

<file path=customXml/itemProps1.xml><?xml version="1.0" encoding="utf-8"?>
<ds:datastoreItem xmlns:ds="http://schemas.openxmlformats.org/officeDocument/2006/customXml" ds:itemID="{AA5F8050-5072-4C28-9153-4A92576207AE}"/>
</file>

<file path=customXml/itemProps2.xml><?xml version="1.0" encoding="utf-8"?>
<ds:datastoreItem xmlns:ds="http://schemas.openxmlformats.org/officeDocument/2006/customXml" ds:itemID="{793CAE84-0F18-4E9D-943C-4FDA2D8FEA60}"/>
</file>

<file path=customXml/itemProps3.xml><?xml version="1.0" encoding="utf-8"?>
<ds:datastoreItem xmlns:ds="http://schemas.openxmlformats.org/officeDocument/2006/customXml" ds:itemID="{1813C92F-A8A8-424A-9AD1-AFFF74937D05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01</Words>
  <Application>Microsoft Office PowerPoint</Application>
  <PresentationFormat>Widescreen</PresentationFormat>
  <Paragraphs>8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rial</vt:lpstr>
      <vt:lpstr>Calibri</vt:lpstr>
      <vt:lpstr>Calibri Light</vt:lpstr>
      <vt:lpstr>Open Sans</vt:lpstr>
      <vt:lpstr>Open Sans Light</vt:lpstr>
      <vt:lpstr>Open Sans SemiBold</vt:lpstr>
      <vt:lpstr>OpenSans-Light</vt:lpstr>
      <vt:lpstr>Verdana</vt:lpstr>
      <vt:lpstr>Wingdings 2</vt:lpstr>
      <vt:lpstr>Deloitte Consulting Scrapbook</vt:lpstr>
      <vt:lpstr>2_Deloitte_US_Onscreen</vt:lpstr>
      <vt:lpstr>think-cell Slide</vt:lpstr>
      <vt:lpstr>The Generative AI Dossier – Highlights  Selected Use Cas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5-04T08:11:33Z</dcterms:created>
  <dcterms:modified xsi:type="dcterms:W3CDTF">2023-05-04T08:1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5-04T08:11:35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21dcbe72-dfa7-45d4-a232-e4110ef06724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76908BD4516B004588F83DF058126254</vt:lpwstr>
  </property>
</Properties>
</file>